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m4v" ContentType="video/mp4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8" r:id="rId2"/>
  </p:sldMasterIdLst>
  <p:notesMasterIdLst>
    <p:notesMasterId r:id="rId15"/>
  </p:notesMasterIdLst>
  <p:sldIdLst>
    <p:sldId id="277" r:id="rId3"/>
    <p:sldId id="278" r:id="rId4"/>
    <p:sldId id="1023" r:id="rId5"/>
    <p:sldId id="1033" r:id="rId6"/>
    <p:sldId id="1028" r:id="rId7"/>
    <p:sldId id="1030" r:id="rId8"/>
    <p:sldId id="1027" r:id="rId9"/>
    <p:sldId id="1032" r:id="rId10"/>
    <p:sldId id="1035" r:id="rId11"/>
    <p:sldId id="1031" r:id="rId12"/>
    <p:sldId id="1034" r:id="rId13"/>
    <p:sldId id="288" r:id="rId14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3" autoAdjust="0"/>
    <p:restoredTop sz="95421" autoAdjust="0"/>
  </p:normalViewPr>
  <p:slideViewPr>
    <p:cSldViewPr snapToGrid="0">
      <p:cViewPr varScale="1">
        <p:scale>
          <a:sx n="78" d="100"/>
          <a:sy n="78" d="100"/>
        </p:scale>
        <p:origin x="758" y="72"/>
      </p:cViewPr>
      <p:guideLst/>
    </p:cSldViewPr>
  </p:slideViewPr>
  <p:outlineViewPr>
    <p:cViewPr>
      <p:scale>
        <a:sx n="33" d="100"/>
        <a:sy n="33" d="100"/>
      </p:scale>
      <p:origin x="0" y="-519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edersen, Klaus Vilstrup" userId="93bdbb7c-5f90-4c1e-b27d-4ecfdc933664" providerId="ADAL" clId="{94C2F1DC-FB38-426F-992F-DA1D4C3ED55F}"/>
  </pc:docChgLst>
  <pc:docChgLst>
    <pc:chgData name="Pedersen, Klaus Vilstrup" userId="93bdbb7c-5f90-4c1e-b27d-4ecfdc933664" providerId="ADAL" clId="{75540667-0FE8-4550-B1F2-8C3CBA3C46C4}"/>
    <pc:docChg chg="undo custSel addSld delSld modSld sldOrd">
      <pc:chgData name="Pedersen, Klaus Vilstrup" userId="93bdbb7c-5f90-4c1e-b27d-4ecfdc933664" providerId="ADAL" clId="{75540667-0FE8-4550-B1F2-8C3CBA3C46C4}" dt="2019-07-05T06:54:14.471" v="2996" actId="1076"/>
      <pc:docMkLst>
        <pc:docMk/>
      </pc:docMkLst>
      <pc:sldChg chg="addSp modSp">
        <pc:chgData name="Pedersen, Klaus Vilstrup" userId="93bdbb7c-5f90-4c1e-b27d-4ecfdc933664" providerId="ADAL" clId="{75540667-0FE8-4550-B1F2-8C3CBA3C46C4}" dt="2019-07-05T06:54:14.471" v="2996" actId="1076"/>
        <pc:sldMkLst>
          <pc:docMk/>
          <pc:sldMk cId="1766149691" sldId="277"/>
        </pc:sldMkLst>
        <pc:spChg chg="add mod">
          <ac:chgData name="Pedersen, Klaus Vilstrup" userId="93bdbb7c-5f90-4c1e-b27d-4ecfdc933664" providerId="ADAL" clId="{75540667-0FE8-4550-B1F2-8C3CBA3C46C4}" dt="2019-07-05T06:54:14.471" v="2996" actId="1076"/>
          <ac:spMkLst>
            <pc:docMk/>
            <pc:sldMk cId="1766149691" sldId="277"/>
            <ac:spMk id="3" creationId="{227A6E36-CC72-4D6C-9336-4B681B17EFCF}"/>
          </ac:spMkLst>
        </pc:spChg>
        <pc:spChg chg="mod">
          <ac:chgData name="Pedersen, Klaus Vilstrup" userId="93bdbb7c-5f90-4c1e-b27d-4ecfdc933664" providerId="ADAL" clId="{75540667-0FE8-4550-B1F2-8C3CBA3C46C4}" dt="2019-07-04T12:13:05.876" v="126" actId="6549"/>
          <ac:spMkLst>
            <pc:docMk/>
            <pc:sldMk cId="1766149691" sldId="277"/>
            <ac:spMk id="156674" creationId="{00000000-0000-0000-0000-000000000000}"/>
          </ac:spMkLst>
        </pc:spChg>
      </pc:sldChg>
      <pc:sldChg chg="addSp delSp modSp">
        <pc:chgData name="Pedersen, Klaus Vilstrup" userId="93bdbb7c-5f90-4c1e-b27d-4ecfdc933664" providerId="ADAL" clId="{75540667-0FE8-4550-B1F2-8C3CBA3C46C4}" dt="2019-07-05T06:52:11.825" v="2953" actId="20578"/>
        <pc:sldMkLst>
          <pc:docMk/>
          <pc:sldMk cId="3238491576" sldId="278"/>
        </pc:sldMkLst>
        <pc:spChg chg="add mod">
          <ac:chgData name="Pedersen, Klaus Vilstrup" userId="93bdbb7c-5f90-4c1e-b27d-4ecfdc933664" providerId="ADAL" clId="{75540667-0FE8-4550-B1F2-8C3CBA3C46C4}" dt="2019-07-05T06:52:11.825" v="2953" actId="20578"/>
          <ac:spMkLst>
            <pc:docMk/>
            <pc:sldMk cId="3238491576" sldId="278"/>
            <ac:spMk id="2" creationId="{E8014857-EB4D-4015-BD14-811509349888}"/>
          </ac:spMkLst>
        </pc:spChg>
        <pc:spChg chg="mod">
          <ac:chgData name="Pedersen, Klaus Vilstrup" userId="93bdbb7c-5f90-4c1e-b27d-4ecfdc933664" providerId="ADAL" clId="{75540667-0FE8-4550-B1F2-8C3CBA3C46C4}" dt="2019-07-04T12:13:59.351" v="180" actId="20577"/>
          <ac:spMkLst>
            <pc:docMk/>
            <pc:sldMk cId="3238491576" sldId="278"/>
            <ac:spMk id="2799617" creationId="{00000000-0000-0000-0000-000000000000}"/>
          </ac:spMkLst>
        </pc:spChg>
        <pc:spChg chg="del">
          <ac:chgData name="Pedersen, Klaus Vilstrup" userId="93bdbb7c-5f90-4c1e-b27d-4ecfdc933664" providerId="ADAL" clId="{75540667-0FE8-4550-B1F2-8C3CBA3C46C4}" dt="2019-07-04T12:14:05.286" v="181" actId="478"/>
          <ac:spMkLst>
            <pc:docMk/>
            <pc:sldMk cId="3238491576" sldId="278"/>
            <ac:spMk id="2799618" creationId="{00000000-0000-0000-0000-000000000000}"/>
          </ac:spMkLst>
        </pc:spChg>
        <pc:picChg chg="add del mod">
          <ac:chgData name="Pedersen, Klaus Vilstrup" userId="93bdbb7c-5f90-4c1e-b27d-4ecfdc933664" providerId="ADAL" clId="{75540667-0FE8-4550-B1F2-8C3CBA3C46C4}" dt="2019-07-04T15:48:37.566" v="2925" actId="478"/>
          <ac:picMkLst>
            <pc:docMk/>
            <pc:sldMk cId="3238491576" sldId="278"/>
            <ac:picMk id="5" creationId="{A4A5C2AD-8437-40E6-AC07-E7A87E67D22B}"/>
          </ac:picMkLst>
        </pc:picChg>
        <pc:picChg chg="add mod modCrop">
          <ac:chgData name="Pedersen, Klaus Vilstrup" userId="93bdbb7c-5f90-4c1e-b27d-4ecfdc933664" providerId="ADAL" clId="{75540667-0FE8-4550-B1F2-8C3CBA3C46C4}" dt="2019-07-05T06:51:42.769" v="2951" actId="1076"/>
          <ac:picMkLst>
            <pc:docMk/>
            <pc:sldMk cId="3238491576" sldId="278"/>
            <ac:picMk id="6" creationId="{639D422D-D6BC-4108-BF8A-0A838CC17455}"/>
          </ac:picMkLst>
        </pc:picChg>
        <pc:picChg chg="mod">
          <ac:chgData name="Pedersen, Klaus Vilstrup" userId="93bdbb7c-5f90-4c1e-b27d-4ecfdc933664" providerId="ADAL" clId="{75540667-0FE8-4550-B1F2-8C3CBA3C46C4}" dt="2019-07-05T06:50:01.178" v="2946" actId="1076"/>
          <ac:picMkLst>
            <pc:docMk/>
            <pc:sldMk cId="3238491576" sldId="278"/>
            <ac:picMk id="2799619" creationId="{00000000-0000-0000-0000-000000000000}"/>
          </ac:picMkLst>
        </pc:picChg>
      </pc:sldChg>
      <pc:sldChg chg="modSp add del ord">
        <pc:chgData name="Pedersen, Klaus Vilstrup" userId="93bdbb7c-5f90-4c1e-b27d-4ecfdc933664" providerId="ADAL" clId="{75540667-0FE8-4550-B1F2-8C3CBA3C46C4}" dt="2019-07-05T06:52:19.455" v="2956" actId="20577"/>
        <pc:sldMkLst>
          <pc:docMk/>
          <pc:sldMk cId="1672780270" sldId="1023"/>
        </pc:sldMkLst>
        <pc:spChg chg="mod">
          <ac:chgData name="Pedersen, Klaus Vilstrup" userId="93bdbb7c-5f90-4c1e-b27d-4ecfdc933664" providerId="ADAL" clId="{75540667-0FE8-4550-B1F2-8C3CBA3C46C4}" dt="2019-07-04T13:44:46.748" v="382" actId="20577"/>
          <ac:spMkLst>
            <pc:docMk/>
            <pc:sldMk cId="1672780270" sldId="1023"/>
            <ac:spMk id="2" creationId="{B798566A-2802-478C-ACC4-DAA24ABDCCF1}"/>
          </ac:spMkLst>
        </pc:spChg>
        <pc:spChg chg="mod">
          <ac:chgData name="Pedersen, Klaus Vilstrup" userId="93bdbb7c-5f90-4c1e-b27d-4ecfdc933664" providerId="ADAL" clId="{75540667-0FE8-4550-B1F2-8C3CBA3C46C4}" dt="2019-07-05T06:52:19.455" v="2956" actId="20577"/>
          <ac:spMkLst>
            <pc:docMk/>
            <pc:sldMk cId="1672780270" sldId="1023"/>
            <ac:spMk id="3" creationId="{1B93BF4F-1AEF-4264-AE4D-4B98A04C1316}"/>
          </ac:spMkLst>
        </pc:spChg>
      </pc:sldChg>
      <pc:sldChg chg="modSp add">
        <pc:chgData name="Pedersen, Klaus Vilstrup" userId="93bdbb7c-5f90-4c1e-b27d-4ecfdc933664" providerId="ADAL" clId="{75540667-0FE8-4550-B1F2-8C3CBA3C46C4}" dt="2019-07-04T13:58:15.202" v="760" actId="20577"/>
        <pc:sldMkLst>
          <pc:docMk/>
          <pc:sldMk cId="4026201637" sldId="1027"/>
        </pc:sldMkLst>
        <pc:spChg chg="mod">
          <ac:chgData name="Pedersen, Klaus Vilstrup" userId="93bdbb7c-5f90-4c1e-b27d-4ecfdc933664" providerId="ADAL" clId="{75540667-0FE8-4550-B1F2-8C3CBA3C46C4}" dt="2019-07-04T13:45:25.514" v="409" actId="20577"/>
          <ac:spMkLst>
            <pc:docMk/>
            <pc:sldMk cId="4026201637" sldId="1027"/>
            <ac:spMk id="2" creationId="{B798566A-2802-478C-ACC4-DAA24ABDCCF1}"/>
          </ac:spMkLst>
        </pc:spChg>
        <pc:spChg chg="mod">
          <ac:chgData name="Pedersen, Klaus Vilstrup" userId="93bdbb7c-5f90-4c1e-b27d-4ecfdc933664" providerId="ADAL" clId="{75540667-0FE8-4550-B1F2-8C3CBA3C46C4}" dt="2019-07-04T13:58:15.202" v="760" actId="20577"/>
          <ac:spMkLst>
            <pc:docMk/>
            <pc:sldMk cId="4026201637" sldId="1027"/>
            <ac:spMk id="3" creationId="{1B93BF4F-1AEF-4264-AE4D-4B98A04C1316}"/>
          </ac:spMkLst>
        </pc:spChg>
      </pc:sldChg>
      <pc:sldChg chg="modSp add ord">
        <pc:chgData name="Pedersen, Klaus Vilstrup" userId="93bdbb7c-5f90-4c1e-b27d-4ecfdc933664" providerId="ADAL" clId="{75540667-0FE8-4550-B1F2-8C3CBA3C46C4}" dt="2019-07-04T14:08:37.307" v="1460" actId="20577"/>
        <pc:sldMkLst>
          <pc:docMk/>
          <pc:sldMk cId="380176315" sldId="1028"/>
        </pc:sldMkLst>
        <pc:spChg chg="mod">
          <ac:chgData name="Pedersen, Klaus Vilstrup" userId="93bdbb7c-5f90-4c1e-b27d-4ecfdc933664" providerId="ADAL" clId="{75540667-0FE8-4550-B1F2-8C3CBA3C46C4}" dt="2019-07-04T13:45:10.542" v="401" actId="20577"/>
          <ac:spMkLst>
            <pc:docMk/>
            <pc:sldMk cId="380176315" sldId="1028"/>
            <ac:spMk id="2" creationId="{B798566A-2802-478C-ACC4-DAA24ABDCCF1}"/>
          </ac:spMkLst>
        </pc:spChg>
        <pc:spChg chg="mod">
          <ac:chgData name="Pedersen, Klaus Vilstrup" userId="93bdbb7c-5f90-4c1e-b27d-4ecfdc933664" providerId="ADAL" clId="{75540667-0FE8-4550-B1F2-8C3CBA3C46C4}" dt="2019-07-04T14:08:37.307" v="1460" actId="20577"/>
          <ac:spMkLst>
            <pc:docMk/>
            <pc:sldMk cId="380176315" sldId="1028"/>
            <ac:spMk id="3" creationId="{1B93BF4F-1AEF-4264-AE4D-4B98A04C1316}"/>
          </ac:spMkLst>
        </pc:spChg>
      </pc:sldChg>
      <pc:sldChg chg="modSp add">
        <pc:chgData name="Pedersen, Klaus Vilstrup" userId="93bdbb7c-5f90-4c1e-b27d-4ecfdc933664" providerId="ADAL" clId="{75540667-0FE8-4550-B1F2-8C3CBA3C46C4}" dt="2019-07-04T15:38:17.336" v="2844" actId="6549"/>
        <pc:sldMkLst>
          <pc:docMk/>
          <pc:sldMk cId="1851641629" sldId="1030"/>
        </pc:sldMkLst>
        <pc:spChg chg="mod">
          <ac:chgData name="Pedersen, Klaus Vilstrup" userId="93bdbb7c-5f90-4c1e-b27d-4ecfdc933664" providerId="ADAL" clId="{75540667-0FE8-4550-B1F2-8C3CBA3C46C4}" dt="2019-07-04T14:08:57.712" v="1465" actId="20577"/>
          <ac:spMkLst>
            <pc:docMk/>
            <pc:sldMk cId="1851641629" sldId="1030"/>
            <ac:spMk id="2" creationId="{B798566A-2802-478C-ACC4-DAA24ABDCCF1}"/>
          </ac:spMkLst>
        </pc:spChg>
        <pc:spChg chg="mod">
          <ac:chgData name="Pedersen, Klaus Vilstrup" userId="93bdbb7c-5f90-4c1e-b27d-4ecfdc933664" providerId="ADAL" clId="{75540667-0FE8-4550-B1F2-8C3CBA3C46C4}" dt="2019-07-04T15:38:17.336" v="2844" actId="6549"/>
          <ac:spMkLst>
            <pc:docMk/>
            <pc:sldMk cId="1851641629" sldId="1030"/>
            <ac:spMk id="3" creationId="{1B93BF4F-1AEF-4264-AE4D-4B98A04C1316}"/>
          </ac:spMkLst>
        </pc:spChg>
      </pc:sldChg>
      <pc:sldChg chg="addSp delSp modSp add">
        <pc:chgData name="Pedersen, Klaus Vilstrup" userId="93bdbb7c-5f90-4c1e-b27d-4ecfdc933664" providerId="ADAL" clId="{75540667-0FE8-4550-B1F2-8C3CBA3C46C4}" dt="2019-07-04T14:19:28.476" v="1914" actId="478"/>
        <pc:sldMkLst>
          <pc:docMk/>
          <pc:sldMk cId="366718649" sldId="1031"/>
        </pc:sldMkLst>
        <pc:spChg chg="mod">
          <ac:chgData name="Pedersen, Klaus Vilstrup" userId="93bdbb7c-5f90-4c1e-b27d-4ecfdc933664" providerId="ADAL" clId="{75540667-0FE8-4550-B1F2-8C3CBA3C46C4}" dt="2019-07-04T14:02:13.831" v="939" actId="20577"/>
          <ac:spMkLst>
            <pc:docMk/>
            <pc:sldMk cId="366718649" sldId="1031"/>
            <ac:spMk id="2" creationId="{B798566A-2802-478C-ACC4-DAA24ABDCCF1}"/>
          </ac:spMkLst>
        </pc:spChg>
        <pc:spChg chg="mod">
          <ac:chgData name="Pedersen, Klaus Vilstrup" userId="93bdbb7c-5f90-4c1e-b27d-4ecfdc933664" providerId="ADAL" clId="{75540667-0FE8-4550-B1F2-8C3CBA3C46C4}" dt="2019-07-04T14:19:01.701" v="1912" actId="5793"/>
          <ac:spMkLst>
            <pc:docMk/>
            <pc:sldMk cId="366718649" sldId="1031"/>
            <ac:spMk id="3" creationId="{1B93BF4F-1AEF-4264-AE4D-4B98A04C1316}"/>
          </ac:spMkLst>
        </pc:spChg>
        <pc:spChg chg="add del">
          <ac:chgData name="Pedersen, Klaus Vilstrup" userId="93bdbb7c-5f90-4c1e-b27d-4ecfdc933664" providerId="ADAL" clId="{75540667-0FE8-4550-B1F2-8C3CBA3C46C4}" dt="2019-07-04T14:19:28.476" v="1914" actId="478"/>
          <ac:spMkLst>
            <pc:docMk/>
            <pc:sldMk cId="366718649" sldId="1031"/>
            <ac:spMk id="4" creationId="{FFD8A39A-D888-45AB-8126-0E4870091143}"/>
          </ac:spMkLst>
        </pc:spChg>
      </pc:sldChg>
      <pc:sldChg chg="modSp add">
        <pc:chgData name="Pedersen, Klaus Vilstrup" userId="93bdbb7c-5f90-4c1e-b27d-4ecfdc933664" providerId="ADAL" clId="{75540667-0FE8-4550-B1F2-8C3CBA3C46C4}" dt="2019-07-04T15:39:04.899" v="2892" actId="6549"/>
        <pc:sldMkLst>
          <pc:docMk/>
          <pc:sldMk cId="4028160368" sldId="1032"/>
        </pc:sldMkLst>
        <pc:spChg chg="mod">
          <ac:chgData name="Pedersen, Klaus Vilstrup" userId="93bdbb7c-5f90-4c1e-b27d-4ecfdc933664" providerId="ADAL" clId="{75540667-0FE8-4550-B1F2-8C3CBA3C46C4}" dt="2019-07-04T14:11:35.487" v="1670" actId="20577"/>
          <ac:spMkLst>
            <pc:docMk/>
            <pc:sldMk cId="4028160368" sldId="1032"/>
            <ac:spMk id="2" creationId="{B798566A-2802-478C-ACC4-DAA24ABDCCF1}"/>
          </ac:spMkLst>
        </pc:spChg>
        <pc:spChg chg="mod">
          <ac:chgData name="Pedersen, Klaus Vilstrup" userId="93bdbb7c-5f90-4c1e-b27d-4ecfdc933664" providerId="ADAL" clId="{75540667-0FE8-4550-B1F2-8C3CBA3C46C4}" dt="2019-07-04T15:39:04.899" v="2892" actId="6549"/>
          <ac:spMkLst>
            <pc:docMk/>
            <pc:sldMk cId="4028160368" sldId="1032"/>
            <ac:spMk id="3" creationId="{1B93BF4F-1AEF-4264-AE4D-4B98A04C1316}"/>
          </ac:spMkLst>
        </pc:spChg>
      </pc:sldChg>
      <pc:sldChg chg="modSp add">
        <pc:chgData name="Pedersen, Klaus Vilstrup" userId="93bdbb7c-5f90-4c1e-b27d-4ecfdc933664" providerId="ADAL" clId="{75540667-0FE8-4550-B1F2-8C3CBA3C46C4}" dt="2019-07-04T15:38:26.575" v="2845" actId="6549"/>
        <pc:sldMkLst>
          <pc:docMk/>
          <pc:sldMk cId="3900004511" sldId="1033"/>
        </pc:sldMkLst>
        <pc:spChg chg="mod">
          <ac:chgData name="Pedersen, Klaus Vilstrup" userId="93bdbb7c-5f90-4c1e-b27d-4ecfdc933664" providerId="ADAL" clId="{75540667-0FE8-4550-B1F2-8C3CBA3C46C4}" dt="2019-07-04T14:13:56.602" v="1733" actId="20577"/>
          <ac:spMkLst>
            <pc:docMk/>
            <pc:sldMk cId="3900004511" sldId="1033"/>
            <ac:spMk id="2" creationId="{B798566A-2802-478C-ACC4-DAA24ABDCCF1}"/>
          </ac:spMkLst>
        </pc:spChg>
        <pc:spChg chg="mod">
          <ac:chgData name="Pedersen, Klaus Vilstrup" userId="93bdbb7c-5f90-4c1e-b27d-4ecfdc933664" providerId="ADAL" clId="{75540667-0FE8-4550-B1F2-8C3CBA3C46C4}" dt="2019-07-04T15:38:26.575" v="2845" actId="6549"/>
          <ac:spMkLst>
            <pc:docMk/>
            <pc:sldMk cId="3900004511" sldId="1033"/>
            <ac:spMk id="3" creationId="{1B93BF4F-1AEF-4264-AE4D-4B98A04C1316}"/>
          </ac:spMkLst>
        </pc:spChg>
      </pc:sldChg>
      <pc:sldChg chg="modSp add">
        <pc:chgData name="Pedersen, Klaus Vilstrup" userId="93bdbb7c-5f90-4c1e-b27d-4ecfdc933664" providerId="ADAL" clId="{75540667-0FE8-4550-B1F2-8C3CBA3C46C4}" dt="2019-07-04T15:23:38.195" v="2716" actId="13926"/>
        <pc:sldMkLst>
          <pc:docMk/>
          <pc:sldMk cId="3872606547" sldId="1034"/>
        </pc:sldMkLst>
        <pc:spChg chg="mod">
          <ac:chgData name="Pedersen, Klaus Vilstrup" userId="93bdbb7c-5f90-4c1e-b27d-4ecfdc933664" providerId="ADAL" clId="{75540667-0FE8-4550-B1F2-8C3CBA3C46C4}" dt="2019-07-04T14:25:22.139" v="2107" actId="20577"/>
          <ac:spMkLst>
            <pc:docMk/>
            <pc:sldMk cId="3872606547" sldId="1034"/>
            <ac:spMk id="2" creationId="{B798566A-2802-478C-ACC4-DAA24ABDCCF1}"/>
          </ac:spMkLst>
        </pc:spChg>
        <pc:spChg chg="mod">
          <ac:chgData name="Pedersen, Klaus Vilstrup" userId="93bdbb7c-5f90-4c1e-b27d-4ecfdc933664" providerId="ADAL" clId="{75540667-0FE8-4550-B1F2-8C3CBA3C46C4}" dt="2019-07-04T15:23:38.195" v="2716" actId="13926"/>
          <ac:spMkLst>
            <pc:docMk/>
            <pc:sldMk cId="3872606547" sldId="1034"/>
            <ac:spMk id="3" creationId="{1B93BF4F-1AEF-4264-AE4D-4B98A04C1316}"/>
          </ac:spMkLst>
        </pc:spChg>
      </pc:sldChg>
      <pc:sldChg chg="modSp add">
        <pc:chgData name="Pedersen, Klaus Vilstrup" userId="93bdbb7c-5f90-4c1e-b27d-4ecfdc933664" providerId="ADAL" clId="{75540667-0FE8-4550-B1F2-8C3CBA3C46C4}" dt="2019-07-04T14:34:35.897" v="2642" actId="20577"/>
        <pc:sldMkLst>
          <pc:docMk/>
          <pc:sldMk cId="121996055" sldId="1035"/>
        </pc:sldMkLst>
        <pc:spChg chg="mod">
          <ac:chgData name="Pedersen, Klaus Vilstrup" userId="93bdbb7c-5f90-4c1e-b27d-4ecfdc933664" providerId="ADAL" clId="{75540667-0FE8-4550-B1F2-8C3CBA3C46C4}" dt="2019-07-04T14:29:38.782" v="2324" actId="20577"/>
          <ac:spMkLst>
            <pc:docMk/>
            <pc:sldMk cId="121996055" sldId="1035"/>
            <ac:spMk id="2" creationId="{B798566A-2802-478C-ACC4-DAA24ABDCCF1}"/>
          </ac:spMkLst>
        </pc:spChg>
        <pc:spChg chg="mod">
          <ac:chgData name="Pedersen, Klaus Vilstrup" userId="93bdbb7c-5f90-4c1e-b27d-4ecfdc933664" providerId="ADAL" clId="{75540667-0FE8-4550-B1F2-8C3CBA3C46C4}" dt="2019-07-04T14:34:35.897" v="2642" actId="20577"/>
          <ac:spMkLst>
            <pc:docMk/>
            <pc:sldMk cId="121996055" sldId="1035"/>
            <ac:spMk id="3" creationId="{1B93BF4F-1AEF-4264-AE4D-4B98A04C1316}"/>
          </ac:spMkLst>
        </pc:spChg>
      </pc:sldChg>
      <pc:sldMasterChg chg="delSldLayout">
        <pc:chgData name="Pedersen, Klaus Vilstrup" userId="93bdbb7c-5f90-4c1e-b27d-4ecfdc933664" providerId="ADAL" clId="{75540667-0FE8-4550-B1F2-8C3CBA3C46C4}" dt="2019-07-04T12:28:09.386" v="272" actId="2696"/>
        <pc:sldMasterMkLst>
          <pc:docMk/>
          <pc:sldMasterMk cId="4188922216" sldId="2147483688"/>
        </pc:sldMasterMkLst>
      </pc:sldMasterChg>
    </pc:docChg>
  </pc:docChgLst>
  <pc:docChgLst>
    <pc:chgData name="Pedersen, Klaus Vilstrup" userId="93bdbb7c-5f90-4c1e-b27d-4ecfdc933664" providerId="ADAL" clId="{04F4084E-49F9-48F6-9329-6F3727B95BC2}"/>
    <pc:docChg chg="delSld modSld">
      <pc:chgData name="Pedersen, Klaus Vilstrup" userId="93bdbb7c-5f90-4c1e-b27d-4ecfdc933664" providerId="ADAL" clId="{04F4084E-49F9-48F6-9329-6F3727B95BC2}" dt="2019-07-08T08:58:44.911" v="38" actId="20577"/>
      <pc:docMkLst>
        <pc:docMk/>
      </pc:docMkLst>
      <pc:sldChg chg="modSp">
        <pc:chgData name="Pedersen, Klaus Vilstrup" userId="93bdbb7c-5f90-4c1e-b27d-4ecfdc933664" providerId="ADAL" clId="{04F4084E-49F9-48F6-9329-6F3727B95BC2}" dt="2019-07-08T08:57:56.725" v="4" actId="400"/>
        <pc:sldMkLst>
          <pc:docMk/>
          <pc:sldMk cId="3238491576" sldId="278"/>
        </pc:sldMkLst>
        <pc:spChg chg="mod">
          <ac:chgData name="Pedersen, Klaus Vilstrup" userId="93bdbb7c-5f90-4c1e-b27d-4ecfdc933664" providerId="ADAL" clId="{04F4084E-49F9-48F6-9329-6F3727B95BC2}" dt="2019-07-08T08:57:56.725" v="4" actId="400"/>
          <ac:spMkLst>
            <pc:docMk/>
            <pc:sldMk cId="3238491576" sldId="278"/>
            <ac:spMk id="2" creationId="{E8014857-EB4D-4015-BD14-811509349888}"/>
          </ac:spMkLst>
        </pc:spChg>
      </pc:sldChg>
      <pc:sldChg chg="del">
        <pc:chgData name="Pedersen, Klaus Vilstrup" userId="93bdbb7c-5f90-4c1e-b27d-4ecfdc933664" providerId="ADAL" clId="{04F4084E-49F9-48F6-9329-6F3727B95BC2}" dt="2019-07-08T08:57:37.004" v="0" actId="2696"/>
        <pc:sldMkLst>
          <pc:docMk/>
          <pc:sldMk cId="666681077" sldId="1015"/>
        </pc:sldMkLst>
      </pc:sldChg>
      <pc:sldChg chg="del">
        <pc:chgData name="Pedersen, Klaus Vilstrup" userId="93bdbb7c-5f90-4c1e-b27d-4ecfdc933664" providerId="ADAL" clId="{04F4084E-49F9-48F6-9329-6F3727B95BC2}" dt="2019-07-08T08:57:37.035" v="1" actId="2696"/>
        <pc:sldMkLst>
          <pc:docMk/>
          <pc:sldMk cId="1030061036" sldId="1024"/>
        </pc:sldMkLst>
      </pc:sldChg>
      <pc:sldChg chg="del">
        <pc:chgData name="Pedersen, Klaus Vilstrup" userId="93bdbb7c-5f90-4c1e-b27d-4ecfdc933664" providerId="ADAL" clId="{04F4084E-49F9-48F6-9329-6F3727B95BC2}" dt="2019-07-08T08:57:37.066" v="2" actId="2696"/>
        <pc:sldMkLst>
          <pc:docMk/>
          <pc:sldMk cId="2924350602" sldId="1025"/>
        </pc:sldMkLst>
      </pc:sldChg>
      <pc:sldChg chg="del">
        <pc:chgData name="Pedersen, Klaus Vilstrup" userId="93bdbb7c-5f90-4c1e-b27d-4ecfdc933664" providerId="ADAL" clId="{04F4084E-49F9-48F6-9329-6F3727B95BC2}" dt="2019-07-08T08:57:37.082" v="3" actId="2696"/>
        <pc:sldMkLst>
          <pc:docMk/>
          <pc:sldMk cId="299070327" sldId="1026"/>
        </pc:sldMkLst>
      </pc:sldChg>
      <pc:sldChg chg="modSp">
        <pc:chgData name="Pedersen, Klaus Vilstrup" userId="93bdbb7c-5f90-4c1e-b27d-4ecfdc933664" providerId="ADAL" clId="{04F4084E-49F9-48F6-9329-6F3727B95BC2}" dt="2019-07-08T08:58:44.911" v="38" actId="20577"/>
        <pc:sldMkLst>
          <pc:docMk/>
          <pc:sldMk cId="4028160368" sldId="1032"/>
        </pc:sldMkLst>
        <pc:spChg chg="mod">
          <ac:chgData name="Pedersen, Klaus Vilstrup" userId="93bdbb7c-5f90-4c1e-b27d-4ecfdc933664" providerId="ADAL" clId="{04F4084E-49F9-48F6-9329-6F3727B95BC2}" dt="2019-07-08T08:58:44.911" v="38" actId="20577"/>
          <ac:spMkLst>
            <pc:docMk/>
            <pc:sldMk cId="4028160368" sldId="1032"/>
            <ac:spMk id="3" creationId="{1B93BF4F-1AEF-4264-AE4D-4B98A04C1316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3E6C90-6766-44CF-9F1B-F97B495B286D}" type="datetimeFigureOut">
              <a:rPr lang="nb-NO" smtClean="0"/>
              <a:t>08.07.2019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42F464-2F24-47ED-A66A-34F52C98E08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7351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7" name="Plassholder for lysbilde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04775" y="750888"/>
            <a:ext cx="6678613" cy="375761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8" name="Plassholder for nota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GB" dirty="0">
              <a:ea typeface="ＭＳ Ｐゴシック" pitchFamily="-96" charset="-128"/>
              <a:cs typeface="ＭＳ Ｐゴシック" pitchFamily="-96" charset="-128"/>
            </a:endParaRPr>
          </a:p>
        </p:txBody>
      </p:sp>
      <p:sp>
        <p:nvSpPr>
          <p:cNvPr id="157699" name="Plassholder for lysbildenumm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7C5A4D-D10A-4E64-8990-3072249FC1DA}" type="slidenum">
              <a: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-96" charset="0"/>
                <a:ea typeface="ＭＳ Ｐゴシック" pitchFamily="-96" charset="-128"/>
                <a:cs typeface="ＭＳ Ｐゴシック" pitchFamily="-96" charset="-128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itchFamily="-96" charset="0"/>
              <a:ea typeface="ＭＳ Ｐゴシック" pitchFamily="-96" charset="-128"/>
              <a:cs typeface="ＭＳ Ｐゴシック" pitchFamily="-96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609150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0641" name="Placeholder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00642" name="Placeholder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>
            <a:normAutofit fontScale="62500" lnSpcReduction="20000"/>
          </a:bodyPr>
          <a:lstStyle/>
          <a:p>
            <a:pPr marL="1588" lvl="1" indent="0" eaLnBrk="1" hangingPunct="1">
              <a:spcBef>
                <a:spcPts val="1200"/>
              </a:spcBef>
              <a:buFont typeface="+mj-lt"/>
              <a:buNone/>
              <a:defRPr/>
            </a:pPr>
            <a:r>
              <a:rPr lang="nb-NO" sz="2400" dirty="0"/>
              <a:t>OpenPEPPOL </a:t>
            </a:r>
            <a:r>
              <a:rPr lang="nb-NO" sz="2400" dirty="0" err="1"/>
              <a:t>Mission</a:t>
            </a:r>
            <a:endParaRPr lang="en-GB" sz="2400" b="1" i="1" dirty="0">
              <a:solidFill>
                <a:schemeClr val="folHlink"/>
              </a:solidFill>
              <a:latin typeface="Arial" pitchFamily="-96" charset="0"/>
              <a:ea typeface="ＭＳ Ｐゴシック" pitchFamily="-96" charset="-128"/>
              <a:cs typeface="ＭＳ Ｐゴシック" pitchFamily="-96" charset="-128"/>
            </a:endParaRPr>
          </a:p>
          <a:p>
            <a:pPr marL="458788" lvl="1" indent="-457200" eaLnBrk="1" hangingPunct="1">
              <a:spcBef>
                <a:spcPts val="1200"/>
              </a:spcBef>
              <a:buFont typeface="+mj-lt"/>
              <a:buAutoNum type="arabicPeriod"/>
              <a:defRPr/>
            </a:pPr>
            <a:r>
              <a:rPr lang="en-GB" sz="2400" b="1" i="1" dirty="0">
                <a:solidFill>
                  <a:schemeClr val="folHlink"/>
                </a:solidFill>
                <a:latin typeface="Arial" pitchFamily="-96" charset="0"/>
                <a:ea typeface="ＭＳ Ｐゴシック" pitchFamily="-96" charset="-128"/>
                <a:cs typeface="ＭＳ Ｐゴシック" pitchFamily="-96" charset="-128"/>
              </a:rPr>
              <a:t>Encourage European governments</a:t>
            </a:r>
            <a:r>
              <a:rPr lang="en-GB" sz="2400" dirty="0">
                <a:latin typeface="Arial" pitchFamily="-96" charset="0"/>
                <a:ea typeface="ＭＳ Ｐゴシック" pitchFamily="-96" charset="-128"/>
                <a:cs typeface="ＭＳ Ｐゴシック" pitchFamily="-96" charset="-128"/>
              </a:rPr>
              <a:t> and their suppliers to continue </a:t>
            </a:r>
            <a:r>
              <a:rPr lang="en-GB" sz="2400" b="1" i="1" dirty="0">
                <a:solidFill>
                  <a:schemeClr val="folHlink"/>
                </a:solidFill>
                <a:latin typeface="Arial" pitchFamily="-96" charset="0"/>
                <a:ea typeface="ＭＳ Ｐゴシック" pitchFamily="-96" charset="-128"/>
                <a:cs typeface="ＭＳ Ｐゴシック" pitchFamily="-96" charset="-128"/>
              </a:rPr>
              <a:t>implementing eProcurement using the PEPPOL specifications</a:t>
            </a:r>
            <a:r>
              <a:rPr lang="en-GB" sz="2400" dirty="0">
                <a:latin typeface="Arial" pitchFamily="-96" charset="0"/>
                <a:ea typeface="ＭＳ Ｐゴシック" pitchFamily="-96" charset="-128"/>
                <a:cs typeface="ＭＳ Ｐゴシック" pitchFamily="-96" charset="-128"/>
              </a:rPr>
              <a:t> and promoting best practices</a:t>
            </a:r>
            <a:endParaRPr lang="nb-NO" sz="2400" dirty="0">
              <a:latin typeface="Arial" pitchFamily="-96" charset="0"/>
              <a:ea typeface="ＭＳ Ｐゴシック" pitchFamily="-96" charset="-128"/>
              <a:cs typeface="ＭＳ Ｐゴシック" pitchFamily="-96" charset="-128"/>
            </a:endParaRPr>
          </a:p>
          <a:p>
            <a:pPr marL="458788" lvl="1" indent="-457200" eaLnBrk="1" hangingPunct="1">
              <a:spcBef>
                <a:spcPts val="1200"/>
              </a:spcBef>
              <a:buFont typeface="+mj-lt"/>
              <a:buAutoNum type="arabicPeriod"/>
              <a:defRPr/>
            </a:pPr>
            <a:r>
              <a:rPr lang="en-GB" sz="2400" dirty="0">
                <a:latin typeface="Arial" pitchFamily="-96" charset="0"/>
                <a:ea typeface="ＭＳ Ｐゴシック" pitchFamily="-96" charset="-128"/>
                <a:cs typeface="ＭＳ Ｐゴシック" pitchFamily="-96" charset="-128"/>
              </a:rPr>
              <a:t>Promote and support the development of </a:t>
            </a:r>
            <a:r>
              <a:rPr lang="en-GB" sz="2400" b="1" i="1" dirty="0">
                <a:solidFill>
                  <a:schemeClr val="folHlink"/>
                </a:solidFill>
                <a:latin typeface="Arial" pitchFamily="-96" charset="0"/>
                <a:ea typeface="ＭＳ Ｐゴシック" pitchFamily="-96" charset="-128"/>
                <a:cs typeface="ＭＳ Ｐゴシック" pitchFamily="-96" charset="-128"/>
              </a:rPr>
              <a:t>innovative PEPPOL-based ICT products and services </a:t>
            </a:r>
            <a:r>
              <a:rPr lang="en-GB" sz="2400" dirty="0">
                <a:latin typeface="Arial" pitchFamily="-96" charset="0"/>
                <a:ea typeface="ＭＳ Ｐゴシック" pitchFamily="-96" charset="-128"/>
                <a:cs typeface="ＭＳ Ｐゴシック" pitchFamily="-96" charset="-128"/>
              </a:rPr>
              <a:t>supporting public procurement processes, promoting their use also in the B2B context to harmonise processes across the private and public sectors, simplifying eProcurement adoption for SMEs</a:t>
            </a:r>
            <a:endParaRPr lang="nb-NO" sz="2400" dirty="0">
              <a:latin typeface="Arial" pitchFamily="-96" charset="0"/>
              <a:ea typeface="ＭＳ Ｐゴシック" pitchFamily="-96" charset="-128"/>
              <a:cs typeface="ＭＳ Ｐゴシック" pitchFamily="-96" charset="-128"/>
            </a:endParaRPr>
          </a:p>
          <a:p>
            <a:pPr marL="458788" lvl="1" indent="-457200" eaLnBrk="1" hangingPunct="1">
              <a:spcBef>
                <a:spcPts val="1200"/>
              </a:spcBef>
              <a:buFont typeface="+mj-lt"/>
              <a:buAutoNum type="arabicPeriod"/>
              <a:defRPr/>
            </a:pPr>
            <a:r>
              <a:rPr lang="en-GB" sz="2400" dirty="0">
                <a:latin typeface="Arial" pitchFamily="-96" charset="0"/>
                <a:ea typeface="ＭＳ Ｐゴシック" pitchFamily="-96" charset="-128"/>
                <a:cs typeface="ＭＳ Ｐゴシック" pitchFamily="-96" charset="-128"/>
              </a:rPr>
              <a:t>Ensure that the </a:t>
            </a:r>
            <a:r>
              <a:rPr lang="en-GB" sz="2400" b="1" i="1" dirty="0">
                <a:solidFill>
                  <a:schemeClr val="folHlink"/>
                </a:solidFill>
                <a:latin typeface="Arial" pitchFamily="-96" charset="0"/>
                <a:ea typeface="ＭＳ Ｐゴシック" pitchFamily="-96" charset="-128"/>
                <a:cs typeface="ＭＳ Ｐゴシック" pitchFamily="-96" charset="-128"/>
              </a:rPr>
              <a:t>PEPPOL network continues to grow in an open, accessible and compliant manner</a:t>
            </a:r>
            <a:r>
              <a:rPr lang="en-GB" sz="2400" dirty="0">
                <a:latin typeface="Arial" pitchFamily="-96" charset="0"/>
                <a:ea typeface="ＭＳ Ｐゴシック" pitchFamily="-96" charset="-128"/>
                <a:cs typeface="ＭＳ Ｐゴシック" pitchFamily="-96" charset="-128"/>
              </a:rPr>
              <a:t>, supporting interoperability for European public services and helping Europe move towards a Digital Single Market</a:t>
            </a:r>
            <a:endParaRPr lang="nb-NO" sz="2400" dirty="0">
              <a:latin typeface="Arial" pitchFamily="-96" charset="0"/>
              <a:ea typeface="ＭＳ Ｐゴシック" pitchFamily="-96" charset="-128"/>
              <a:cs typeface="ＭＳ Ｐゴシック" pitchFamily="-96" charset="-128"/>
            </a:endParaRPr>
          </a:p>
          <a:p>
            <a:pPr eaLnBrk="1" hangingPunct="1"/>
            <a:endParaRPr lang="it-IT" dirty="0">
              <a:ea typeface="ＭＳ Ｐゴシック" pitchFamily="8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209795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image" Target="../media/image24.jpeg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image" Target="../media/image20.jpeg"/><Relationship Id="rId5" Type="http://schemas.openxmlformats.org/officeDocument/2006/relationships/tags" Target="../tags/tag11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image" Target="../media/image23.jpeg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10" Type="http://schemas.openxmlformats.org/officeDocument/2006/relationships/image" Target="../media/image20.jpeg"/><Relationship Id="rId4" Type="http://schemas.openxmlformats.org/officeDocument/2006/relationships/tags" Target="../tags/tag16.xml"/><Relationship Id="rId9" Type="http://schemas.openxmlformats.org/officeDocument/2006/relationships/image" Target="../media/image24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tags" Target="../tags/tag20.xml"/><Relationship Id="rId7" Type="http://schemas.openxmlformats.org/officeDocument/2006/relationships/oleObject" Target="../embeddings/oleObject4.bin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2.xml"/><Relationship Id="rId4" Type="http://schemas.openxmlformats.org/officeDocument/2006/relationships/tags" Target="../tags/tag2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5.v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Relationship Id="rId9" Type="http://schemas.openxmlformats.org/officeDocument/2006/relationships/image" Target="../media/image20.jpe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tags" Target="../tags/tag2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6.v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20.jpeg"/><Relationship Id="rId4" Type="http://schemas.openxmlformats.org/officeDocument/2006/relationships/tags" Target="../tags/tag30.xml"/><Relationship Id="rId9" Type="http://schemas.openxmlformats.org/officeDocument/2006/relationships/oleObject" Target="../embeddings/oleObject6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2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.png"/><Relationship Id="rId4" Type="http://schemas.openxmlformats.org/officeDocument/2006/relationships/image" Target="../media/image9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4v"/><Relationship Id="rId1" Type="http://schemas.microsoft.com/office/2007/relationships/media" Target="../media/media2.m4v"/><Relationship Id="rId5" Type="http://schemas.openxmlformats.org/officeDocument/2006/relationships/image" Target="../media/image3.png"/><Relationship Id="rId4" Type="http://schemas.openxmlformats.org/officeDocument/2006/relationships/image" Target="../media/image10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3.m4v"/><Relationship Id="rId1" Type="http://schemas.microsoft.com/office/2007/relationships/media" Target="../media/media3.m4v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198C9DC9-7677-4EBC-90D6-2584ADAE34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20361" y="2428876"/>
            <a:ext cx="8101803" cy="1147763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1620362" y="4455557"/>
            <a:ext cx="3105691" cy="926544"/>
          </a:xfrm>
        </p:spPr>
        <p:txBody>
          <a:bodyPr>
            <a:normAutofit/>
          </a:bodyPr>
          <a:lstStyle>
            <a:lvl1pPr marL="0" indent="0" algn="l">
              <a:spcBef>
                <a:spcPts val="375"/>
              </a:spcBef>
              <a:buNone/>
              <a:defRPr sz="1500" i="0">
                <a:solidFill>
                  <a:schemeClr val="lt1"/>
                </a:solidFill>
              </a:defRPr>
            </a:lvl1pPr>
            <a:lvl2pPr marL="457157" indent="0" algn="ctr">
              <a:buNone/>
              <a:defRPr sz="2000"/>
            </a:lvl2pPr>
            <a:lvl3pPr marL="914314" indent="0" algn="ctr">
              <a:buNone/>
              <a:defRPr sz="1800"/>
            </a:lvl3pPr>
            <a:lvl4pPr marL="1371471" indent="0" algn="ctr">
              <a:buNone/>
              <a:defRPr sz="1600"/>
            </a:lvl4pPr>
            <a:lvl5pPr marL="1828628" indent="0" algn="ctr">
              <a:buNone/>
              <a:defRPr sz="1600"/>
            </a:lvl5pPr>
            <a:lvl6pPr marL="2285785" indent="0" algn="ctr">
              <a:buNone/>
              <a:defRPr sz="1600"/>
            </a:lvl6pPr>
            <a:lvl7pPr marL="2742941" indent="0" algn="ctr">
              <a:buNone/>
              <a:defRPr sz="1600"/>
            </a:lvl7pPr>
            <a:lvl8pPr marL="3200099" indent="0" algn="ctr">
              <a:buNone/>
              <a:defRPr sz="1600"/>
            </a:lvl8pPr>
            <a:lvl9pPr marL="3657256" indent="0" algn="ctr">
              <a:buNone/>
              <a:defRPr sz="1600"/>
            </a:lvl9pPr>
          </a:lstStyle>
          <a:p>
            <a:r>
              <a:rPr lang="nb-NO" dirty="0"/>
              <a:t>Navn Navnesen</a:t>
            </a:r>
            <a:br>
              <a:rPr lang="nb-NO" dirty="0"/>
            </a:br>
            <a:r>
              <a:rPr lang="nb-NO" dirty="0"/>
              <a:t>Stilling</a:t>
            </a:r>
            <a:br>
              <a:rPr lang="nb-NO" dirty="0"/>
            </a:br>
            <a:r>
              <a:rPr lang="nb-NO" dirty="0"/>
              <a:t>Sted, Dato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620361" y="6446580"/>
            <a:ext cx="84622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8.07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455550" y="6446580"/>
            <a:ext cx="30881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C629C3E6-69F6-4F62-A3E6-616C4550AFAC}"/>
              </a:ext>
            </a:extLst>
          </p:cNvPr>
          <p:cNvCxnSpPr/>
          <p:nvPr userDrawn="1"/>
        </p:nvCxnSpPr>
        <p:spPr>
          <a:xfrm>
            <a:off x="1620361" y="4253032"/>
            <a:ext cx="189042" cy="0"/>
          </a:xfrm>
          <a:prstGeom prst="line">
            <a:avLst/>
          </a:prstGeom>
          <a:ln w="28575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de 9">
            <a:extLst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74" y="756000"/>
            <a:ext cx="3672359" cy="750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5812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7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968192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7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4737D579-C832-405D-8D92-9123776B54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50301" y="1080135"/>
            <a:ext cx="8776954" cy="5130641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0116904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7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3215" cy="6858857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007952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7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50301" y="3982452"/>
            <a:ext cx="8776954" cy="2228323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3215" cy="3429429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6187223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6097957" cy="6858857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7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3" y="1080134"/>
            <a:ext cx="4861082" cy="4725591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157379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3428571"/>
            <a:ext cx="6097957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7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0180" y="1080136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7957" y="0"/>
            <a:ext cx="6094042" cy="3429429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225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886532" y="3877477"/>
            <a:ext cx="4320962" cy="1890236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442557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9435C06D-6B4A-4F64-97D2-2A45F4B3B7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333" y="6156770"/>
            <a:ext cx="909918" cy="356617"/>
          </a:xfrm>
          <a:prstGeom prst="rect">
            <a:avLst/>
          </a:prstGeom>
        </p:spPr>
      </p:pic>
      <p:sp>
        <p:nvSpPr>
          <p:cNvPr id="12" name="Plassholder for dato 11">
            <a:extLst>
              <a:ext uri="{FF2B5EF4-FFF2-40B4-BE49-F238E27FC236}">
                <a16:creationId xmlns:a16="http://schemas.microsoft.com/office/drawing/2014/main" id="{79E28BA1-4BA5-4AEB-A7CE-8449E4703054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pPr/>
              <a:t>08.07.2019</a:t>
            </a:fld>
            <a:endParaRPr lang="nb-NO"/>
          </a:p>
        </p:txBody>
      </p:sp>
      <p:sp>
        <p:nvSpPr>
          <p:cNvPr id="13" name="Plassholder for bunntekst 12">
            <a:extLst>
              <a:ext uri="{FF2B5EF4-FFF2-40B4-BE49-F238E27FC236}">
                <a16:creationId xmlns:a16="http://schemas.microsoft.com/office/drawing/2014/main" id="{C6E57979-1462-449A-895B-13092213837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4" name="Plassholder for lysbildenummer 13">
            <a:extLst>
              <a:ext uri="{FF2B5EF4-FFF2-40B4-BE49-F238E27FC236}">
                <a16:creationId xmlns:a16="http://schemas.microsoft.com/office/drawing/2014/main" id="{9997B939-209C-4074-9AD5-3A86278954A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11079440" y="6446580"/>
            <a:ext cx="308811" cy="184666"/>
          </a:xfrm>
        </p:spPr>
        <p:txBody>
          <a:bodyPr/>
          <a:lstStyle/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75151" y="675083"/>
            <a:ext cx="11072465" cy="5265659"/>
          </a:xfrm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6409355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ksjonskill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570A73B1-F5E2-4FEC-872E-F9DF530E6D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6704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ksjonskill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570A73B1-F5E2-4FEC-872E-F9DF530E6D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9507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ksjonskill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570A73B1-F5E2-4FEC-872E-F9DF530E6D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9801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198C9DC9-7677-4EBC-90D6-2584ADAE34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20361" y="2428876"/>
            <a:ext cx="8101803" cy="1147763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1620362" y="4455557"/>
            <a:ext cx="3105691" cy="926544"/>
          </a:xfrm>
        </p:spPr>
        <p:txBody>
          <a:bodyPr>
            <a:normAutofit/>
          </a:bodyPr>
          <a:lstStyle>
            <a:lvl1pPr marL="0" indent="0" algn="l">
              <a:spcBef>
                <a:spcPts val="375"/>
              </a:spcBef>
              <a:buNone/>
              <a:defRPr sz="1500" i="0">
                <a:solidFill>
                  <a:schemeClr val="lt1"/>
                </a:solidFill>
              </a:defRPr>
            </a:lvl1pPr>
            <a:lvl2pPr marL="457157" indent="0" algn="ctr">
              <a:buNone/>
              <a:defRPr sz="2000"/>
            </a:lvl2pPr>
            <a:lvl3pPr marL="914314" indent="0" algn="ctr">
              <a:buNone/>
              <a:defRPr sz="1800"/>
            </a:lvl3pPr>
            <a:lvl4pPr marL="1371471" indent="0" algn="ctr">
              <a:buNone/>
              <a:defRPr sz="1600"/>
            </a:lvl4pPr>
            <a:lvl5pPr marL="1828628" indent="0" algn="ctr">
              <a:buNone/>
              <a:defRPr sz="1600"/>
            </a:lvl5pPr>
            <a:lvl6pPr marL="2285785" indent="0" algn="ctr">
              <a:buNone/>
              <a:defRPr sz="1600"/>
            </a:lvl6pPr>
            <a:lvl7pPr marL="2742941" indent="0" algn="ctr">
              <a:buNone/>
              <a:defRPr sz="1600"/>
            </a:lvl7pPr>
            <a:lvl8pPr marL="3200099" indent="0" algn="ctr">
              <a:buNone/>
              <a:defRPr sz="1600"/>
            </a:lvl8pPr>
            <a:lvl9pPr marL="3657256" indent="0" algn="ctr">
              <a:buNone/>
              <a:defRPr sz="1600"/>
            </a:lvl9pPr>
          </a:lstStyle>
          <a:p>
            <a:r>
              <a:rPr lang="nb-NO" dirty="0"/>
              <a:t>Navn Navnesen</a:t>
            </a:r>
            <a:br>
              <a:rPr lang="nb-NO" dirty="0"/>
            </a:br>
            <a:r>
              <a:rPr lang="nb-NO" dirty="0"/>
              <a:t>Stilling</a:t>
            </a:r>
            <a:br>
              <a:rPr lang="nb-NO" dirty="0"/>
            </a:br>
            <a:r>
              <a:rPr lang="nb-NO" dirty="0"/>
              <a:t>Sted, Dato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620361" y="6446580"/>
            <a:ext cx="84622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8.07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455550" y="6446580"/>
            <a:ext cx="30881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C629C3E6-69F6-4F62-A3E6-616C4550AFAC}"/>
              </a:ext>
            </a:extLst>
          </p:cNvPr>
          <p:cNvCxnSpPr/>
          <p:nvPr userDrawn="1"/>
        </p:nvCxnSpPr>
        <p:spPr>
          <a:xfrm>
            <a:off x="1620361" y="4253032"/>
            <a:ext cx="189042" cy="0"/>
          </a:xfrm>
          <a:prstGeom prst="line">
            <a:avLst/>
          </a:prstGeom>
          <a:ln w="28575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de 9">
            <a:extLst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74" y="756000"/>
            <a:ext cx="3672359" cy="750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9829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ksjonskill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570A73B1-F5E2-4FEC-872E-F9DF530E6D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4545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ksjonskill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570A73B1-F5E2-4FEC-872E-F9DF530E6D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9250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ksjonskille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e 7">
            <a:extLst>
              <a:ext uri="{FF2B5EF4-FFF2-40B4-BE49-F238E27FC236}">
                <a16:creationId xmlns:a16="http://schemas.microsoft.com/office/drawing/2014/main" id="{570A73B1-F5E2-4FEC-872E-F9DF530E6D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960"/>
            <a:ext cx="12193190" cy="6834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2090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350301" y="1080135"/>
            <a:ext cx="4861082" cy="4725591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27169" y="1080135"/>
            <a:ext cx="4861082" cy="4725591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7.2019</a:t>
            </a:fld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506574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350301" y="1080136"/>
            <a:ext cx="4861082" cy="427040"/>
          </a:xfrm>
        </p:spPr>
        <p:txBody>
          <a:bodyPr anchor="t">
            <a:spAutoFit/>
          </a:bodyPr>
          <a:lstStyle>
            <a:lvl1pPr marL="0" indent="0">
              <a:buNone/>
              <a:defRPr sz="2775" b="1"/>
            </a:lvl1pPr>
            <a:lvl2pPr marL="457157" indent="0">
              <a:buNone/>
              <a:defRPr sz="2000" b="1"/>
            </a:lvl2pPr>
            <a:lvl3pPr marL="914314" indent="0">
              <a:buNone/>
              <a:defRPr sz="1800" b="1"/>
            </a:lvl3pPr>
            <a:lvl4pPr marL="1371471" indent="0">
              <a:buNone/>
              <a:defRPr sz="1600" b="1"/>
            </a:lvl4pPr>
            <a:lvl5pPr marL="1828628" indent="0">
              <a:buNone/>
              <a:defRPr sz="1600" b="1"/>
            </a:lvl5pPr>
            <a:lvl6pPr marL="2285785" indent="0">
              <a:buNone/>
              <a:defRPr sz="1600" b="1"/>
            </a:lvl6pPr>
            <a:lvl7pPr marL="2742941" indent="0">
              <a:buNone/>
              <a:defRPr sz="1600" b="1"/>
            </a:lvl7pPr>
            <a:lvl8pPr marL="3200099" indent="0">
              <a:buNone/>
              <a:defRPr sz="1600" b="1"/>
            </a:lvl8pPr>
            <a:lvl9pPr marL="3657256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350301" y="1507175"/>
            <a:ext cx="4861082" cy="4298551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527169" y="1080136"/>
            <a:ext cx="4861082" cy="427040"/>
          </a:xfrm>
        </p:spPr>
        <p:txBody>
          <a:bodyPr wrap="square" anchor="t">
            <a:spAutoFit/>
          </a:bodyPr>
          <a:lstStyle>
            <a:lvl1pPr marL="0" indent="0">
              <a:buNone/>
              <a:defRPr sz="2775" b="1"/>
            </a:lvl1pPr>
            <a:lvl2pPr marL="457157" indent="0">
              <a:buNone/>
              <a:defRPr sz="2000" b="1"/>
            </a:lvl2pPr>
            <a:lvl3pPr marL="914314" indent="0">
              <a:buNone/>
              <a:defRPr sz="1800" b="1"/>
            </a:lvl3pPr>
            <a:lvl4pPr marL="1371471" indent="0">
              <a:buNone/>
              <a:defRPr sz="1600" b="1"/>
            </a:lvl4pPr>
            <a:lvl5pPr marL="1828628" indent="0">
              <a:buNone/>
              <a:defRPr sz="1600" b="1"/>
            </a:lvl5pPr>
            <a:lvl6pPr marL="2285785" indent="0">
              <a:buNone/>
              <a:defRPr sz="1600" b="1"/>
            </a:lvl6pPr>
            <a:lvl7pPr marL="2742941" indent="0">
              <a:buNone/>
              <a:defRPr sz="1600" b="1"/>
            </a:lvl7pPr>
            <a:lvl8pPr marL="3200099" indent="0">
              <a:buNone/>
              <a:defRPr sz="1600" b="1"/>
            </a:lvl8pPr>
            <a:lvl9pPr marL="3657256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527169" y="1507175"/>
            <a:ext cx="4861082" cy="4298551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7.2019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ittel 9">
            <a:extLst>
              <a:ext uri="{FF2B5EF4-FFF2-40B4-BE49-F238E27FC236}">
                <a16:creationId xmlns:a16="http://schemas.microsoft.com/office/drawing/2014/main" id="{EA580FF1-391B-4CD4-9C27-516ACE01A7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959900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3A5589B9-2A63-49AD-B4AF-B290ABF6564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9F6CBEE6-56DC-47C1-98B7-6D4C13A7E2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9029" y="2343893"/>
            <a:ext cx="2064464" cy="2064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37406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7.2019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009771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3651F3-9B16-40C6-B209-3688FC9C95F6}" type="datetimeFigureOut">
              <a:rPr lang="nb-NO" smtClean="0"/>
              <a:t>08.07.2019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433726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 descr="button_gelb_neu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9"/>
          <a:srcRect l="2505"/>
          <a:stretch>
            <a:fillRect/>
          </a:stretch>
        </p:blipFill>
        <p:spPr bwMode="auto">
          <a:xfrm>
            <a:off x="3947747" y="2341563"/>
            <a:ext cx="3025775" cy="278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" name="AutoShape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3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2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613836" y="692152"/>
            <a:ext cx="78867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>
                <a:solidFill>
                  <a:srgbClr val="707173"/>
                </a:solidFill>
                <a:latin typeface="Arial"/>
                <a:ea typeface="ＭＳ Ｐゴシック" pitchFamily="84" charset="-128"/>
                <a:cs typeface="Arial" pitchFamily="34" charset="0"/>
              </a:rPr>
              <a:t>www.peppol.eu</a:t>
            </a:r>
          </a:p>
        </p:txBody>
      </p:sp>
      <p:sp>
        <p:nvSpPr>
          <p:cNvPr id="3085" name="Rectangle 13"/>
          <p:cNvSpPr>
            <a:spLocks noGrp="1" noChangeArrowheads="1"/>
          </p:cNvSpPr>
          <p:nvPr>
            <p:ph type="ctrTitle" sz="quarter"/>
          </p:nvPr>
        </p:nvSpPr>
        <p:spPr>
          <a:xfrm>
            <a:off x="4400864" y="3379285"/>
            <a:ext cx="2140614" cy="646331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defRPr sz="2100" b="0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de-DE" dirty="0"/>
          </a:p>
        </p:txBody>
      </p:sp>
      <p:pic>
        <p:nvPicPr>
          <p:cNvPr id="10" name="Grafik 30" descr="PEPPOL_Logo__RGB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Grafik 28" descr="logo_icon.jpg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12"/>
          <a:srcRect r="1070"/>
          <a:stretch>
            <a:fillRect/>
          </a:stretch>
        </p:blipFill>
        <p:spPr bwMode="auto">
          <a:xfrm>
            <a:off x="1141047" y="2341563"/>
            <a:ext cx="2682875" cy="277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3"/>
          <p:cNvSpPr>
            <a:spLocks noGrp="1" noChangeArrowheads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13" name="Rectangle 15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17283069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026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4" name="AutoShape 102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1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13836" y="692152"/>
            <a:ext cx="78867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900" dirty="0">
                <a:solidFill>
                  <a:srgbClr val="707173"/>
                </a:solidFill>
                <a:latin typeface="Arial"/>
                <a:ea typeface="ＭＳ Ｐゴシック" pitchFamily="84" charset="-128"/>
                <a:cs typeface="Arial" pitchFamily="34" charset="0"/>
              </a:rPr>
              <a:t>www.peppol.eu</a:t>
            </a:r>
          </a:p>
        </p:txBody>
      </p:sp>
      <p:sp>
        <p:nvSpPr>
          <p:cNvPr id="3085" name="Rectangle 13"/>
          <p:cNvSpPr>
            <a:spLocks noGrp="1" noChangeArrowheads="1"/>
          </p:cNvSpPr>
          <p:nvPr>
            <p:ph type="ctrTitle" sz="quarter"/>
          </p:nvPr>
        </p:nvSpPr>
        <p:spPr>
          <a:xfrm>
            <a:off x="4445004" y="2717726"/>
            <a:ext cx="7141633" cy="1354217"/>
          </a:xfrm>
          <a:prstGeom prst="rect">
            <a:avLst/>
          </a:prstGeom>
        </p:spPr>
        <p:txBody>
          <a:bodyPr/>
          <a:lstStyle>
            <a:lvl1pPr>
              <a:defRPr sz="330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de-DE" dirty="0"/>
          </a:p>
        </p:txBody>
      </p:sp>
      <p:sp>
        <p:nvSpPr>
          <p:cNvPr id="3088" name="Rectangle 1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445004" y="4262441"/>
            <a:ext cx="7141633" cy="3231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00">
                <a:solidFill>
                  <a:schemeClr val="bg2">
                    <a:lumMod val="2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b-NO" dirty="0"/>
              <a:t>Klikk for å redigere undertittelstil i malen</a:t>
            </a:r>
            <a:endParaRPr lang="de-DE" dirty="0"/>
          </a:p>
        </p:txBody>
      </p:sp>
      <p:pic>
        <p:nvPicPr>
          <p:cNvPr id="10" name="Grafik 24" descr="logo_icon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9"/>
          <a:srcRect r="1070"/>
          <a:stretch>
            <a:fillRect/>
          </a:stretch>
        </p:blipFill>
        <p:spPr bwMode="auto">
          <a:xfrm>
            <a:off x="912448" y="2323978"/>
            <a:ext cx="2682875" cy="277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Grafik 30" descr="PEPPOL_Logo__RGB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9135942" y="410405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13"/>
          <p:cNvSpPr>
            <a:spLocks noGrp="1" noChangeArrowheads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13" name="Rectangle 1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3834439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198C9DC9-7677-4EBC-90D6-2584ADAE34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20361" y="2428876"/>
            <a:ext cx="8101803" cy="1147763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1620362" y="4455557"/>
            <a:ext cx="3105691" cy="926544"/>
          </a:xfrm>
        </p:spPr>
        <p:txBody>
          <a:bodyPr>
            <a:normAutofit/>
          </a:bodyPr>
          <a:lstStyle>
            <a:lvl1pPr marL="0" indent="0" algn="l">
              <a:spcBef>
                <a:spcPts val="375"/>
              </a:spcBef>
              <a:buNone/>
              <a:defRPr sz="1500" i="0">
                <a:solidFill>
                  <a:schemeClr val="lt1"/>
                </a:solidFill>
              </a:defRPr>
            </a:lvl1pPr>
            <a:lvl2pPr marL="457157" indent="0" algn="ctr">
              <a:buNone/>
              <a:defRPr sz="2000"/>
            </a:lvl2pPr>
            <a:lvl3pPr marL="914314" indent="0" algn="ctr">
              <a:buNone/>
              <a:defRPr sz="1800"/>
            </a:lvl3pPr>
            <a:lvl4pPr marL="1371471" indent="0" algn="ctr">
              <a:buNone/>
              <a:defRPr sz="1600"/>
            </a:lvl4pPr>
            <a:lvl5pPr marL="1828628" indent="0" algn="ctr">
              <a:buNone/>
              <a:defRPr sz="1600"/>
            </a:lvl5pPr>
            <a:lvl6pPr marL="2285785" indent="0" algn="ctr">
              <a:buNone/>
              <a:defRPr sz="1600"/>
            </a:lvl6pPr>
            <a:lvl7pPr marL="2742941" indent="0" algn="ctr">
              <a:buNone/>
              <a:defRPr sz="1600"/>
            </a:lvl7pPr>
            <a:lvl8pPr marL="3200099" indent="0" algn="ctr">
              <a:buNone/>
              <a:defRPr sz="1600"/>
            </a:lvl8pPr>
            <a:lvl9pPr marL="3657256" indent="0" algn="ctr">
              <a:buNone/>
              <a:defRPr sz="1600"/>
            </a:lvl9pPr>
          </a:lstStyle>
          <a:p>
            <a:r>
              <a:rPr lang="nb-NO" dirty="0"/>
              <a:t>Navn Navnesen</a:t>
            </a:r>
            <a:br>
              <a:rPr lang="nb-NO" dirty="0"/>
            </a:br>
            <a:r>
              <a:rPr lang="nb-NO" dirty="0"/>
              <a:t>Stilling</a:t>
            </a:r>
            <a:br>
              <a:rPr lang="nb-NO" dirty="0"/>
            </a:br>
            <a:r>
              <a:rPr lang="nb-NO" dirty="0"/>
              <a:t>Sted, Dato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620361" y="6446580"/>
            <a:ext cx="84622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8.07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455550" y="6446580"/>
            <a:ext cx="30881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C629C3E6-69F6-4F62-A3E6-616C4550AFAC}"/>
              </a:ext>
            </a:extLst>
          </p:cNvPr>
          <p:cNvCxnSpPr/>
          <p:nvPr userDrawn="1"/>
        </p:nvCxnSpPr>
        <p:spPr>
          <a:xfrm>
            <a:off x="1620361" y="4253032"/>
            <a:ext cx="189042" cy="0"/>
          </a:xfrm>
          <a:prstGeom prst="line">
            <a:avLst/>
          </a:prstGeom>
          <a:ln w="28575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de 9">
            <a:extLst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74" y="756000"/>
            <a:ext cx="3672359" cy="750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5929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026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4" name="AutoShape 102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7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rgbClr val="131313"/>
                </a:solidFill>
              </a:defRPr>
            </a:lvl1pPr>
            <a:lvl2pPr>
              <a:defRPr>
                <a:solidFill>
                  <a:srgbClr val="131313"/>
                </a:solidFill>
              </a:defRPr>
            </a:lvl2pPr>
            <a:lvl3pPr>
              <a:defRPr>
                <a:solidFill>
                  <a:srgbClr val="131313"/>
                </a:solidFill>
              </a:defRPr>
            </a:lvl3pPr>
            <a:lvl4pPr>
              <a:defRPr>
                <a:solidFill>
                  <a:srgbClr val="131313"/>
                </a:solidFill>
              </a:defRPr>
            </a:lvl4pPr>
            <a:lvl5pPr>
              <a:buFont typeface="Symbol" pitchFamily="18" charset="2"/>
              <a:buChar char="-"/>
              <a:defRPr>
                <a:solidFill>
                  <a:srgbClr val="131313"/>
                </a:solidFill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de-DE" dirty="0"/>
          </a:p>
        </p:txBody>
      </p:sp>
      <p:pic>
        <p:nvPicPr>
          <p:cNvPr id="10" name="Grafik 30" descr="PEPPOL_Logo__RGB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3"/>
          <p:cNvSpPr>
            <a:spLocks noGrp="1" noChangeArrowheads="1"/>
          </p:cNvSpPr>
          <p:nvPr>
            <p:ph type="sldNum" sz="quarter" idx="4"/>
            <p:custDataLst>
              <p:tags r:id="rId4"/>
            </p:custDataLst>
          </p:nvPr>
        </p:nvSpPr>
        <p:spPr bwMode="auto">
          <a:xfrm>
            <a:off x="609600" y="6462997"/>
            <a:ext cx="48891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 dirty="0"/>
          </a:p>
        </p:txBody>
      </p:sp>
      <p:sp>
        <p:nvSpPr>
          <p:cNvPr id="12" name="Rectangle 1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6831252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4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7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6" name="Line 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613833" y="6184900"/>
            <a:ext cx="10972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>
              <a:solidFill>
                <a:srgbClr val="707173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515136"/>
            <a:ext cx="10972800" cy="1412694"/>
          </a:xfrm>
        </p:spPr>
        <p:txBody>
          <a:bodyPr/>
          <a:lstStyle>
            <a:lvl1pPr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489347" indent="-257175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688181" indent="-180975">
              <a:buClr>
                <a:schemeClr val="accent1"/>
              </a:buClr>
              <a:buFont typeface="+mj-lt"/>
              <a:buAutoNum type="alphaLcPeriod"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buFont typeface="Symbol" pitchFamily="18" charset="2"/>
              <a:buChar char="-"/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pic>
        <p:nvPicPr>
          <p:cNvPr id="10" name="Grafik 30" descr="PEPPOL_Logo__RGB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3"/>
          <p:cNvSpPr>
            <a:spLocks noGrp="1" noChangeArrowheads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14" name="Rectangle 1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33366042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hea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6" descr="sackerl_powerpoint_RGB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97514" y="1680239"/>
            <a:ext cx="4360286" cy="4094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4" name="AutoShape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4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7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7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613833" y="6184900"/>
            <a:ext cx="10972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>
              <a:solidFill>
                <a:srgbClr val="707173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9647769" y="6597652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idx="11"/>
          </p:nvPr>
        </p:nvSpPr>
        <p:spPr>
          <a:xfrm>
            <a:off x="5143503" y="3047934"/>
            <a:ext cx="6400799" cy="923330"/>
          </a:xfrm>
        </p:spPr>
        <p:txBody>
          <a:bodyPr/>
          <a:lstStyle>
            <a:lvl1pPr>
              <a:defRPr sz="3000" b="1">
                <a:solidFill>
                  <a:schemeClr val="bg2">
                    <a:lumMod val="25000"/>
                  </a:schemeClr>
                </a:solidFill>
              </a:defRPr>
            </a:lvl1pPr>
            <a:lvl5pPr>
              <a:buFont typeface="Symbol" pitchFamily="18" charset="2"/>
              <a:buChar char="-"/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0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12BDDE23-1AB8-438E-96FF-A46B22D9952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  <p:pic>
        <p:nvPicPr>
          <p:cNvPr id="11" name="Grafik 30" descr="PEPPOL_Logo__RGB.jpg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619182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ubhea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4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7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+mn-cs"/>
            </a:endParaRPr>
          </a:p>
        </p:txBody>
      </p:sp>
      <p:sp>
        <p:nvSpPr>
          <p:cNvPr id="7" name="Line 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613833" y="6184900"/>
            <a:ext cx="10972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2400">
              <a:solidFill>
                <a:srgbClr val="707173"/>
              </a:solidFill>
              <a:latin typeface="Arial"/>
              <a:ea typeface="ＭＳ Ｐゴシック" pitchFamily="84" charset="-128"/>
              <a:cs typeface="+mn-cs"/>
            </a:endParaRPr>
          </a:p>
        </p:txBody>
      </p:sp>
      <p:sp>
        <p:nvSpPr>
          <p:cNvPr id="8" name="Rectangle 1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9647767" y="6597650"/>
            <a:ext cx="1737655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 defTabSz="914400">
              <a:defRPr/>
            </a:pPr>
            <a:r>
              <a:rPr lang="en-US" sz="700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</a:rPr>
              <a:t>PEPPOL is owned by OpenPEPPOL AISBL</a:t>
            </a:r>
          </a:p>
        </p:txBody>
      </p:sp>
      <p:pic>
        <p:nvPicPr>
          <p:cNvPr id="9" name="Bilde 10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8866717" y="419100"/>
            <a:ext cx="3276600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515136"/>
            <a:ext cx="4114800" cy="615553"/>
          </a:xfrm>
        </p:spPr>
        <p:txBody>
          <a:bodyPr/>
          <a:lstStyle>
            <a:lvl5pPr>
              <a:buFont typeface="Symbol" pitchFamily="18" charset="2"/>
              <a:buChar char="-"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idx="11"/>
          </p:nvPr>
        </p:nvSpPr>
        <p:spPr>
          <a:xfrm>
            <a:off x="5143500" y="3047934"/>
            <a:ext cx="6400799" cy="1231106"/>
          </a:xfrm>
        </p:spPr>
        <p:txBody>
          <a:bodyPr/>
          <a:lstStyle>
            <a:lvl1pPr>
              <a:defRPr sz="4000" b="1">
                <a:solidFill>
                  <a:schemeClr val="bg2">
                    <a:lumMod val="25000"/>
                  </a:schemeClr>
                </a:solidFill>
              </a:defRPr>
            </a:lvl1pPr>
            <a:lvl5pPr>
              <a:buFont typeface="Symbol" pitchFamily="18" charset="2"/>
              <a:buChar char="-"/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10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Page </a:t>
            </a:r>
            <a:fld id="{12BDDE23-1AB8-438E-96FF-A46B22D9952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23923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198C9DC9-7677-4EBC-90D6-2584ADAE34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20361" y="2428876"/>
            <a:ext cx="8101803" cy="1147763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1620362" y="4455557"/>
            <a:ext cx="3105691" cy="926544"/>
          </a:xfrm>
        </p:spPr>
        <p:txBody>
          <a:bodyPr>
            <a:normAutofit/>
          </a:bodyPr>
          <a:lstStyle>
            <a:lvl1pPr marL="0" indent="0" algn="l">
              <a:spcBef>
                <a:spcPts val="375"/>
              </a:spcBef>
              <a:buNone/>
              <a:defRPr sz="1500" i="0">
                <a:solidFill>
                  <a:schemeClr val="lt1"/>
                </a:solidFill>
              </a:defRPr>
            </a:lvl1pPr>
            <a:lvl2pPr marL="457157" indent="0" algn="ctr">
              <a:buNone/>
              <a:defRPr sz="2000"/>
            </a:lvl2pPr>
            <a:lvl3pPr marL="914314" indent="0" algn="ctr">
              <a:buNone/>
              <a:defRPr sz="1800"/>
            </a:lvl3pPr>
            <a:lvl4pPr marL="1371471" indent="0" algn="ctr">
              <a:buNone/>
              <a:defRPr sz="1600"/>
            </a:lvl4pPr>
            <a:lvl5pPr marL="1828628" indent="0" algn="ctr">
              <a:buNone/>
              <a:defRPr sz="1600"/>
            </a:lvl5pPr>
            <a:lvl6pPr marL="2285785" indent="0" algn="ctr">
              <a:buNone/>
              <a:defRPr sz="1600"/>
            </a:lvl6pPr>
            <a:lvl7pPr marL="2742941" indent="0" algn="ctr">
              <a:buNone/>
              <a:defRPr sz="1600"/>
            </a:lvl7pPr>
            <a:lvl8pPr marL="3200099" indent="0" algn="ctr">
              <a:buNone/>
              <a:defRPr sz="1600"/>
            </a:lvl8pPr>
            <a:lvl9pPr marL="3657256" indent="0" algn="ctr">
              <a:buNone/>
              <a:defRPr sz="1600"/>
            </a:lvl9pPr>
          </a:lstStyle>
          <a:p>
            <a:r>
              <a:rPr lang="nb-NO" dirty="0"/>
              <a:t>Navn Navnesen</a:t>
            </a:r>
            <a:br>
              <a:rPr lang="nb-NO" dirty="0"/>
            </a:br>
            <a:r>
              <a:rPr lang="nb-NO" dirty="0"/>
              <a:t>Stilling</a:t>
            </a:r>
            <a:br>
              <a:rPr lang="nb-NO" dirty="0"/>
            </a:br>
            <a:r>
              <a:rPr lang="nb-NO" dirty="0"/>
              <a:t>Sted, Dato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620361" y="6446580"/>
            <a:ext cx="84622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8.07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455550" y="6446580"/>
            <a:ext cx="30881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C629C3E6-69F6-4F62-A3E6-616C4550AFAC}"/>
              </a:ext>
            </a:extLst>
          </p:cNvPr>
          <p:cNvCxnSpPr/>
          <p:nvPr userDrawn="1"/>
        </p:nvCxnSpPr>
        <p:spPr>
          <a:xfrm>
            <a:off x="1620361" y="4253032"/>
            <a:ext cx="189042" cy="0"/>
          </a:xfrm>
          <a:prstGeom prst="line">
            <a:avLst/>
          </a:prstGeom>
          <a:ln w="28575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de 9">
            <a:extLst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74" y="756000"/>
            <a:ext cx="3672359" cy="750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6942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198C9DC9-7677-4EBC-90D6-2584ADAE34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20361" y="2428876"/>
            <a:ext cx="8101803" cy="1147763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1620362" y="4455557"/>
            <a:ext cx="3105691" cy="926544"/>
          </a:xfrm>
        </p:spPr>
        <p:txBody>
          <a:bodyPr>
            <a:normAutofit/>
          </a:bodyPr>
          <a:lstStyle>
            <a:lvl1pPr marL="0" indent="0" algn="l">
              <a:spcBef>
                <a:spcPts val="375"/>
              </a:spcBef>
              <a:buNone/>
              <a:defRPr sz="1500" i="0">
                <a:solidFill>
                  <a:schemeClr val="lt1"/>
                </a:solidFill>
              </a:defRPr>
            </a:lvl1pPr>
            <a:lvl2pPr marL="457157" indent="0" algn="ctr">
              <a:buNone/>
              <a:defRPr sz="2000"/>
            </a:lvl2pPr>
            <a:lvl3pPr marL="914314" indent="0" algn="ctr">
              <a:buNone/>
              <a:defRPr sz="1800"/>
            </a:lvl3pPr>
            <a:lvl4pPr marL="1371471" indent="0" algn="ctr">
              <a:buNone/>
              <a:defRPr sz="1600"/>
            </a:lvl4pPr>
            <a:lvl5pPr marL="1828628" indent="0" algn="ctr">
              <a:buNone/>
              <a:defRPr sz="1600"/>
            </a:lvl5pPr>
            <a:lvl6pPr marL="2285785" indent="0" algn="ctr">
              <a:buNone/>
              <a:defRPr sz="1600"/>
            </a:lvl6pPr>
            <a:lvl7pPr marL="2742941" indent="0" algn="ctr">
              <a:buNone/>
              <a:defRPr sz="1600"/>
            </a:lvl7pPr>
            <a:lvl8pPr marL="3200099" indent="0" algn="ctr">
              <a:buNone/>
              <a:defRPr sz="1600"/>
            </a:lvl8pPr>
            <a:lvl9pPr marL="3657256" indent="0" algn="ctr">
              <a:buNone/>
              <a:defRPr sz="1600"/>
            </a:lvl9pPr>
          </a:lstStyle>
          <a:p>
            <a:r>
              <a:rPr lang="nb-NO" dirty="0"/>
              <a:t>Navn Navnesen</a:t>
            </a:r>
            <a:br>
              <a:rPr lang="nb-NO" dirty="0"/>
            </a:br>
            <a:r>
              <a:rPr lang="nb-NO" dirty="0"/>
              <a:t>Stilling</a:t>
            </a:r>
            <a:br>
              <a:rPr lang="nb-NO" dirty="0"/>
            </a:br>
            <a:r>
              <a:rPr lang="nb-NO" dirty="0"/>
              <a:t>Sted, Dato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620361" y="6446580"/>
            <a:ext cx="84622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8.07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455550" y="6446580"/>
            <a:ext cx="30881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C629C3E6-69F6-4F62-A3E6-616C4550AFAC}"/>
              </a:ext>
            </a:extLst>
          </p:cNvPr>
          <p:cNvCxnSpPr/>
          <p:nvPr userDrawn="1"/>
        </p:nvCxnSpPr>
        <p:spPr>
          <a:xfrm>
            <a:off x="1620361" y="4253032"/>
            <a:ext cx="189042" cy="0"/>
          </a:xfrm>
          <a:prstGeom prst="line">
            <a:avLst/>
          </a:prstGeom>
          <a:ln w="28575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de 9">
            <a:extLst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74" y="756000"/>
            <a:ext cx="3672359" cy="750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2141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198C9DC9-7677-4EBC-90D6-2584ADAE34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3190" cy="6858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20361" y="2428876"/>
            <a:ext cx="8101803" cy="1147763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1620362" y="4455557"/>
            <a:ext cx="3105691" cy="926544"/>
          </a:xfrm>
        </p:spPr>
        <p:txBody>
          <a:bodyPr>
            <a:normAutofit/>
          </a:bodyPr>
          <a:lstStyle>
            <a:lvl1pPr marL="0" indent="0" algn="l">
              <a:spcBef>
                <a:spcPts val="375"/>
              </a:spcBef>
              <a:buNone/>
              <a:defRPr sz="1500" i="0">
                <a:solidFill>
                  <a:schemeClr val="lt1"/>
                </a:solidFill>
              </a:defRPr>
            </a:lvl1pPr>
            <a:lvl2pPr marL="457157" indent="0" algn="ctr">
              <a:buNone/>
              <a:defRPr sz="2000"/>
            </a:lvl2pPr>
            <a:lvl3pPr marL="914314" indent="0" algn="ctr">
              <a:buNone/>
              <a:defRPr sz="1800"/>
            </a:lvl3pPr>
            <a:lvl4pPr marL="1371471" indent="0" algn="ctr">
              <a:buNone/>
              <a:defRPr sz="1600"/>
            </a:lvl4pPr>
            <a:lvl5pPr marL="1828628" indent="0" algn="ctr">
              <a:buNone/>
              <a:defRPr sz="1600"/>
            </a:lvl5pPr>
            <a:lvl6pPr marL="2285785" indent="0" algn="ctr">
              <a:buNone/>
              <a:defRPr sz="1600"/>
            </a:lvl6pPr>
            <a:lvl7pPr marL="2742941" indent="0" algn="ctr">
              <a:buNone/>
              <a:defRPr sz="1600"/>
            </a:lvl7pPr>
            <a:lvl8pPr marL="3200099" indent="0" algn="ctr">
              <a:buNone/>
              <a:defRPr sz="1600"/>
            </a:lvl8pPr>
            <a:lvl9pPr marL="3657256" indent="0" algn="ctr">
              <a:buNone/>
              <a:defRPr sz="1600"/>
            </a:lvl9pPr>
          </a:lstStyle>
          <a:p>
            <a:r>
              <a:rPr lang="nb-NO" dirty="0"/>
              <a:t>Navn Navnesen</a:t>
            </a:r>
            <a:br>
              <a:rPr lang="nb-NO" dirty="0"/>
            </a:br>
            <a:r>
              <a:rPr lang="nb-NO" dirty="0"/>
              <a:t>Stilling</a:t>
            </a:r>
            <a:br>
              <a:rPr lang="nb-NO" dirty="0"/>
            </a:br>
            <a:r>
              <a:rPr lang="nb-NO" dirty="0"/>
              <a:t>Sted, Dato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620361" y="6446580"/>
            <a:ext cx="84622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8.07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455550" y="6446580"/>
            <a:ext cx="30881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C629C3E6-69F6-4F62-A3E6-616C4550AFAC}"/>
              </a:ext>
            </a:extLst>
          </p:cNvPr>
          <p:cNvCxnSpPr/>
          <p:nvPr userDrawn="1"/>
        </p:nvCxnSpPr>
        <p:spPr>
          <a:xfrm>
            <a:off x="1620361" y="4253032"/>
            <a:ext cx="189042" cy="0"/>
          </a:xfrm>
          <a:prstGeom prst="line">
            <a:avLst/>
          </a:prstGeom>
          <a:ln w="28575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de 9">
            <a:extLst/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74" y="756000"/>
            <a:ext cx="3672359" cy="750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7687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fi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lå">
            <a:hlinkClick r:id="" action="ppaction://media"/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2084"/>
            <a:ext cx="12189485" cy="685591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20361" y="2428876"/>
            <a:ext cx="8101803" cy="1147763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1620362" y="4455557"/>
            <a:ext cx="3105691" cy="926544"/>
          </a:xfrm>
        </p:spPr>
        <p:txBody>
          <a:bodyPr>
            <a:normAutofit/>
          </a:bodyPr>
          <a:lstStyle>
            <a:lvl1pPr marL="0" indent="0" algn="l">
              <a:spcBef>
                <a:spcPts val="375"/>
              </a:spcBef>
              <a:buNone/>
              <a:defRPr sz="1500" i="0">
                <a:solidFill>
                  <a:schemeClr val="lt1"/>
                </a:solidFill>
              </a:defRPr>
            </a:lvl1pPr>
            <a:lvl2pPr marL="457157" indent="0" algn="ctr">
              <a:buNone/>
              <a:defRPr sz="2000"/>
            </a:lvl2pPr>
            <a:lvl3pPr marL="914314" indent="0" algn="ctr">
              <a:buNone/>
              <a:defRPr sz="1800"/>
            </a:lvl3pPr>
            <a:lvl4pPr marL="1371471" indent="0" algn="ctr">
              <a:buNone/>
              <a:defRPr sz="1600"/>
            </a:lvl4pPr>
            <a:lvl5pPr marL="1828628" indent="0" algn="ctr">
              <a:buNone/>
              <a:defRPr sz="1600"/>
            </a:lvl5pPr>
            <a:lvl6pPr marL="2285785" indent="0" algn="ctr">
              <a:buNone/>
              <a:defRPr sz="1600"/>
            </a:lvl6pPr>
            <a:lvl7pPr marL="2742941" indent="0" algn="ctr">
              <a:buNone/>
              <a:defRPr sz="1600"/>
            </a:lvl7pPr>
            <a:lvl8pPr marL="3200099" indent="0" algn="ctr">
              <a:buNone/>
              <a:defRPr sz="1600"/>
            </a:lvl8pPr>
            <a:lvl9pPr marL="3657256" indent="0" algn="ctr">
              <a:buNone/>
              <a:defRPr sz="1600"/>
            </a:lvl9pPr>
          </a:lstStyle>
          <a:p>
            <a:r>
              <a:rPr lang="nb-NO" dirty="0"/>
              <a:t>Navn Navnesen</a:t>
            </a:r>
            <a:br>
              <a:rPr lang="nb-NO" dirty="0"/>
            </a:br>
            <a:r>
              <a:rPr lang="nb-NO" dirty="0"/>
              <a:t>Stilling</a:t>
            </a:r>
            <a:br>
              <a:rPr lang="nb-NO" dirty="0"/>
            </a:br>
            <a:r>
              <a:rPr lang="nb-NO" dirty="0"/>
              <a:t>Sted, Dato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620361" y="6446580"/>
            <a:ext cx="84622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8.07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455550" y="6446580"/>
            <a:ext cx="30881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C629C3E6-69F6-4F62-A3E6-616C4550AFAC}"/>
              </a:ext>
            </a:extLst>
          </p:cNvPr>
          <p:cNvCxnSpPr/>
          <p:nvPr userDrawn="1"/>
        </p:nvCxnSpPr>
        <p:spPr>
          <a:xfrm>
            <a:off x="1620361" y="4253032"/>
            <a:ext cx="189042" cy="0"/>
          </a:xfrm>
          <a:prstGeom prst="line">
            <a:avLst/>
          </a:prstGeom>
          <a:ln w="28575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de 9">
            <a:extLst/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74" y="756000"/>
            <a:ext cx="3672359" cy="750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0771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094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fi animert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lilla">
            <a:hlinkClick r:id="" action="ppaction://media"/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1"/>
            <a:ext cx="12192000" cy="685733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20361" y="2428876"/>
            <a:ext cx="8101803" cy="1147763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3750"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1620362" y="4455557"/>
            <a:ext cx="3105691" cy="926544"/>
          </a:xfrm>
        </p:spPr>
        <p:txBody>
          <a:bodyPr>
            <a:normAutofit/>
          </a:bodyPr>
          <a:lstStyle>
            <a:lvl1pPr marL="0" indent="0" algn="l">
              <a:spcBef>
                <a:spcPts val="375"/>
              </a:spcBef>
              <a:buNone/>
              <a:defRPr sz="1500" i="0">
                <a:solidFill>
                  <a:schemeClr val="lt1"/>
                </a:solidFill>
              </a:defRPr>
            </a:lvl1pPr>
            <a:lvl2pPr marL="457157" indent="0" algn="ctr">
              <a:buNone/>
              <a:defRPr sz="2000"/>
            </a:lvl2pPr>
            <a:lvl3pPr marL="914314" indent="0" algn="ctr">
              <a:buNone/>
              <a:defRPr sz="1800"/>
            </a:lvl3pPr>
            <a:lvl4pPr marL="1371471" indent="0" algn="ctr">
              <a:buNone/>
              <a:defRPr sz="1600"/>
            </a:lvl4pPr>
            <a:lvl5pPr marL="1828628" indent="0" algn="ctr">
              <a:buNone/>
              <a:defRPr sz="1600"/>
            </a:lvl5pPr>
            <a:lvl6pPr marL="2285785" indent="0" algn="ctr">
              <a:buNone/>
              <a:defRPr sz="1600"/>
            </a:lvl6pPr>
            <a:lvl7pPr marL="2742941" indent="0" algn="ctr">
              <a:buNone/>
              <a:defRPr sz="1600"/>
            </a:lvl7pPr>
            <a:lvl8pPr marL="3200099" indent="0" algn="ctr">
              <a:buNone/>
              <a:defRPr sz="1600"/>
            </a:lvl8pPr>
            <a:lvl9pPr marL="3657256" indent="0" algn="ctr">
              <a:buNone/>
              <a:defRPr sz="1600"/>
            </a:lvl9pPr>
          </a:lstStyle>
          <a:p>
            <a:r>
              <a:rPr lang="nb-NO" dirty="0"/>
              <a:t>Navn Navnesen</a:t>
            </a:r>
            <a:br>
              <a:rPr lang="nb-NO" dirty="0"/>
            </a:br>
            <a:r>
              <a:rPr lang="nb-NO" dirty="0"/>
              <a:t>Stilling</a:t>
            </a:r>
            <a:br>
              <a:rPr lang="nb-NO" dirty="0"/>
            </a:br>
            <a:r>
              <a:rPr lang="nb-NO" dirty="0"/>
              <a:t>Sted, Dato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620361" y="6446580"/>
            <a:ext cx="84622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8.07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455550" y="6446580"/>
            <a:ext cx="30881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C629C3E6-69F6-4F62-A3E6-616C4550AFAC}"/>
              </a:ext>
            </a:extLst>
          </p:cNvPr>
          <p:cNvCxnSpPr/>
          <p:nvPr userDrawn="1"/>
        </p:nvCxnSpPr>
        <p:spPr>
          <a:xfrm>
            <a:off x="1620361" y="4253032"/>
            <a:ext cx="189042" cy="0"/>
          </a:xfrm>
          <a:prstGeom prst="line">
            <a:avLst/>
          </a:prstGeom>
          <a:ln w="28575">
            <a:solidFill>
              <a:schemeClr val="l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de 9">
            <a:extLst/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074" y="756000"/>
            <a:ext cx="3672359" cy="750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495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1094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fi animert ident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620361" y="6446580"/>
            <a:ext cx="84622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8.07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455550" y="6446580"/>
            <a:ext cx="308811" cy="184666"/>
          </a:xfrm>
        </p:spPr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ident">
            <a:hlinkClick r:id="" action="ppaction://media"/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7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8959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128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5.xml"/><Relationship Id="rId18" Type="http://schemas.openxmlformats.org/officeDocument/2006/relationships/image" Target="../media/image21.png"/><Relationship Id="rId3" Type="http://schemas.openxmlformats.org/officeDocument/2006/relationships/slideLayout" Target="../slideLayouts/slideLayout30.xml"/><Relationship Id="rId7" Type="http://schemas.openxmlformats.org/officeDocument/2006/relationships/theme" Target="../theme/theme2.xml"/><Relationship Id="rId12" Type="http://schemas.openxmlformats.org/officeDocument/2006/relationships/tags" Target="../tags/tag4.xml"/><Relationship Id="rId17" Type="http://schemas.openxmlformats.org/officeDocument/2006/relationships/image" Target="../media/image20.jpeg"/><Relationship Id="rId2" Type="http://schemas.openxmlformats.org/officeDocument/2006/relationships/slideLayout" Target="../slideLayouts/slideLayout29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32.xml"/><Relationship Id="rId15" Type="http://schemas.openxmlformats.org/officeDocument/2006/relationships/tags" Target="../tags/tag7.xml"/><Relationship Id="rId10" Type="http://schemas.openxmlformats.org/officeDocument/2006/relationships/tags" Target="../tags/tag2.xml"/><Relationship Id="rId19" Type="http://schemas.openxmlformats.org/officeDocument/2006/relationships/image" Target="../media/image22.png"/><Relationship Id="rId4" Type="http://schemas.openxmlformats.org/officeDocument/2006/relationships/slideLayout" Target="../slideLayouts/slideLayout31.xml"/><Relationship Id="rId9" Type="http://schemas.openxmlformats.org/officeDocument/2006/relationships/tags" Target="../tags/tag1.x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1350301" y="350553"/>
            <a:ext cx="8776954" cy="519373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1350301" y="1080135"/>
            <a:ext cx="8776954" cy="513064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350301" y="6446580"/>
            <a:ext cx="84622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>
              <a:defRPr sz="1050">
                <a:solidFill>
                  <a:schemeClr val="dk1"/>
                </a:solidFill>
              </a:defRPr>
            </a:lvl1pPr>
          </a:lstStyle>
          <a:p>
            <a:fld id="{983651F3-9B16-40C6-B209-3688FC9C95F6}" type="datetimeFigureOut">
              <a:rPr lang="nb-NO" smtClean="0"/>
              <a:pPr/>
              <a:t>08.07.2019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683718" y="6446580"/>
            <a:ext cx="7443537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ctr">
              <a:defRPr sz="1050">
                <a:solidFill>
                  <a:schemeClr val="dk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079440" y="6446580"/>
            <a:ext cx="308811" cy="184666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r">
              <a:defRPr sz="1050">
                <a:solidFill>
                  <a:schemeClr val="dk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F82F1666-BA64-4235-B583-5459C4BA00B9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8333" y="5994750"/>
            <a:ext cx="909918" cy="356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340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</p:sldLayoutIdLst>
  <p:txStyles>
    <p:titleStyle>
      <a:lvl1pPr algn="l" defTabSz="914314" rtl="0" eaLnBrk="1" latinLnBrk="0" hangingPunct="1">
        <a:lnSpc>
          <a:spcPct val="90000"/>
        </a:lnSpc>
        <a:spcBef>
          <a:spcPct val="0"/>
        </a:spcBef>
        <a:buNone/>
        <a:defRPr sz="375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405000" indent="-405000" algn="l" defTabSz="914314" rtl="0" eaLnBrk="1" latinLnBrk="0" hangingPunct="1">
        <a:lnSpc>
          <a:spcPct val="100000"/>
        </a:lnSpc>
        <a:spcBef>
          <a:spcPts val="1875"/>
        </a:spcBef>
        <a:buClr>
          <a:srgbClr val="00ADEE"/>
        </a:buClr>
        <a:buFont typeface="Arial" panose="020B0604020202020204" pitchFamily="34" charset="0"/>
        <a:buChar char="•"/>
        <a:defRPr sz="2775" kern="1200">
          <a:solidFill>
            <a:schemeClr val="tx2"/>
          </a:solidFill>
          <a:latin typeface="+mn-lt"/>
          <a:ea typeface="+mn-ea"/>
          <a:cs typeface="+mn-cs"/>
        </a:defRPr>
      </a:lvl1pPr>
      <a:lvl2pPr marL="675000" indent="-270000" algn="l" defTabSz="914314" rtl="0" eaLnBrk="1" latinLnBrk="0" hangingPunct="1">
        <a:lnSpc>
          <a:spcPct val="90000"/>
        </a:lnSpc>
        <a:spcBef>
          <a:spcPts val="1125"/>
        </a:spcBef>
        <a:buClr>
          <a:srgbClr val="00ADEE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945000" indent="-270000" algn="l" defTabSz="914314" rtl="0" eaLnBrk="1" latinLnBrk="0" hangingPunct="1">
        <a:lnSpc>
          <a:spcPct val="90000"/>
        </a:lnSpc>
        <a:spcBef>
          <a:spcPts val="1125"/>
        </a:spcBef>
        <a:buClr>
          <a:srgbClr val="00ADEE"/>
        </a:buClr>
        <a:buFont typeface="Arial" panose="020B0604020202020204" pitchFamily="34" charset="0"/>
        <a:buChar char="•"/>
        <a:defRPr sz="2100" kern="1200">
          <a:solidFill>
            <a:schemeClr val="tx2"/>
          </a:solidFill>
          <a:latin typeface="+mn-lt"/>
          <a:ea typeface="+mn-ea"/>
          <a:cs typeface="+mn-cs"/>
        </a:defRPr>
      </a:lvl3pPr>
      <a:lvl4pPr marL="1215000" indent="-270000" algn="l" defTabSz="914314" rtl="0" eaLnBrk="1" latinLnBrk="0" hangingPunct="1">
        <a:lnSpc>
          <a:spcPct val="90000"/>
        </a:lnSpc>
        <a:spcBef>
          <a:spcPts val="1125"/>
        </a:spcBef>
        <a:buClr>
          <a:srgbClr val="00ADEE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485000" indent="-270000" algn="l" defTabSz="914314" rtl="0" eaLnBrk="1" latinLnBrk="0" hangingPunct="1">
        <a:lnSpc>
          <a:spcPct val="90000"/>
        </a:lnSpc>
        <a:spcBef>
          <a:spcPts val="1125"/>
        </a:spcBef>
        <a:buClr>
          <a:srgbClr val="00ADEE"/>
        </a:buClr>
        <a:buFont typeface="Arial" panose="020B0604020202020204" pitchFamily="34" charset="0"/>
        <a:buChar char="•"/>
        <a:defRPr sz="15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363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20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77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34" indent="-228578" algn="l" defTabSz="91431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7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5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1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9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6" algn="l" defTabSz="9143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008" name="AutoShape 24"/>
          <p:cNvGraphicFramePr>
            <a:graphicFrameLocks/>
          </p:cNvGraphicFramePr>
          <p:nvPr>
            <p:extLst/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42008" name="AutoShape 2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Line 7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rgbClr val="131313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37" name="Rectangle 13"/>
          <p:cNvSpPr>
            <a:spLocks noGrp="1" noChangeArrowheads="1"/>
          </p:cNvSpPr>
          <p:nvPr>
            <p:ph type="sldNum" sz="quarter" idx="4"/>
            <p:custDataLst>
              <p:tags r:id="rId10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13131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39" name="Line 8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>
            <a:off x="613833" y="6184900"/>
            <a:ext cx="10972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>
              <a:solidFill>
                <a:srgbClr val="131313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42015" name="Titelplatzhalter 48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 bwMode="auto">
          <a:xfrm>
            <a:off x="609600" y="341318"/>
            <a:ext cx="8178800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Fare clic per modificare stile</a:t>
            </a:r>
          </a:p>
        </p:txBody>
      </p:sp>
      <p:sp>
        <p:nvSpPr>
          <p:cNvPr id="42016" name="Textplatzhalter 50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609600" y="1514475"/>
            <a:ext cx="10972800" cy="14927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 err="1"/>
              <a:t>Fare</a:t>
            </a:r>
            <a:r>
              <a:rPr lang="de-DE" dirty="0"/>
              <a:t> </a:t>
            </a:r>
            <a:r>
              <a:rPr lang="de-DE" dirty="0" err="1"/>
              <a:t>clic</a:t>
            </a:r>
            <a:r>
              <a:rPr lang="de-DE" dirty="0"/>
              <a:t> per </a:t>
            </a:r>
            <a:r>
              <a:rPr lang="de-DE" dirty="0" err="1"/>
              <a:t>modificare</a:t>
            </a:r>
            <a:r>
              <a:rPr lang="de-DE" dirty="0"/>
              <a:t> </a:t>
            </a:r>
            <a:r>
              <a:rPr lang="de-DE" dirty="0" err="1"/>
              <a:t>gli</a:t>
            </a:r>
            <a:r>
              <a:rPr lang="de-DE" dirty="0"/>
              <a:t> </a:t>
            </a:r>
            <a:r>
              <a:rPr lang="de-DE" dirty="0" err="1"/>
              <a:t>stili</a:t>
            </a:r>
            <a:r>
              <a:rPr lang="de-DE" dirty="0"/>
              <a:t> del </a:t>
            </a:r>
            <a:r>
              <a:rPr lang="de-DE" dirty="0" err="1"/>
              <a:t>testo</a:t>
            </a:r>
            <a:r>
              <a:rPr lang="de-DE" dirty="0"/>
              <a:t> </a:t>
            </a:r>
            <a:r>
              <a:rPr lang="de-DE" dirty="0" err="1"/>
              <a:t>dello</a:t>
            </a:r>
            <a:r>
              <a:rPr lang="de-DE" dirty="0"/>
              <a:t> </a:t>
            </a:r>
            <a:r>
              <a:rPr lang="de-DE" dirty="0" err="1"/>
              <a:t>schema</a:t>
            </a:r>
            <a:endParaRPr lang="de-DE" dirty="0"/>
          </a:p>
          <a:p>
            <a:pPr lvl="1"/>
            <a:r>
              <a:rPr lang="de-DE" dirty="0" err="1"/>
              <a:t>Secondo</a:t>
            </a:r>
            <a:r>
              <a:rPr lang="de-DE" dirty="0"/>
              <a:t> </a:t>
            </a:r>
            <a:r>
              <a:rPr lang="de-DE" dirty="0" err="1"/>
              <a:t>livello</a:t>
            </a:r>
            <a:endParaRPr lang="de-DE" dirty="0"/>
          </a:p>
          <a:p>
            <a:pPr lvl="2"/>
            <a:r>
              <a:rPr lang="de-DE" dirty="0" err="1"/>
              <a:t>Terzo</a:t>
            </a:r>
            <a:r>
              <a:rPr lang="de-DE" dirty="0"/>
              <a:t> </a:t>
            </a:r>
            <a:r>
              <a:rPr lang="de-DE" dirty="0" err="1"/>
              <a:t>livello</a:t>
            </a:r>
            <a:endParaRPr lang="de-DE" dirty="0"/>
          </a:p>
          <a:p>
            <a:pPr lvl="3"/>
            <a:r>
              <a:rPr lang="de-DE" dirty="0"/>
              <a:t>Quarto </a:t>
            </a:r>
            <a:r>
              <a:rPr lang="de-DE" dirty="0" err="1"/>
              <a:t>livello</a:t>
            </a:r>
            <a:endParaRPr lang="de-DE" dirty="0"/>
          </a:p>
        </p:txBody>
      </p:sp>
      <p:sp>
        <p:nvSpPr>
          <p:cNvPr id="42012" name="Rectangle 15"/>
          <p:cNvSpPr>
            <a:spLocks noChangeArrowheads="1"/>
          </p:cNvSpPr>
          <p:nvPr userDrawn="1">
            <p:custDataLst>
              <p:tags r:id="rId14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13131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  <p:pic>
        <p:nvPicPr>
          <p:cNvPr id="10" name="Grafik 30" descr="PEPPOL_Logo__RGB.jpg"/>
          <p:cNvPicPr>
            <a:picLocks noChangeAspect="1"/>
          </p:cNvPicPr>
          <p:nvPr userDrawn="1">
            <p:custDataLst>
              <p:tags r:id="rId15"/>
            </p:custDataLst>
          </p:nvPr>
        </p:nvPicPr>
        <p:blipFill>
          <a:blip r:embed="rId17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88922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5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5pPr>
      <a:lvl6pPr marL="342900" algn="l" rtl="0" fontAlgn="base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6pPr>
      <a:lvl7pPr marL="685800" algn="l" rtl="0" fontAlgn="base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7pPr>
      <a:lvl8pPr marL="1028700" algn="l" rtl="0" fontAlgn="base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8pPr>
      <a:lvl9pPr marL="1371600" algn="l" rtl="0" fontAlgn="base">
        <a:spcBef>
          <a:spcPct val="0"/>
        </a:spcBef>
        <a:spcAft>
          <a:spcPct val="0"/>
        </a:spcAft>
        <a:defRPr sz="1950" b="1">
          <a:solidFill>
            <a:schemeClr val="tx1"/>
          </a:solidFill>
          <a:latin typeface="Arial" pitchFamily="84" charset="0"/>
          <a:ea typeface="ＭＳ Ｐゴシック" pitchFamily="84" charset="-128"/>
          <a:cs typeface="ＭＳ Ｐゴシック" pitchFamily="84" charset="-128"/>
        </a:defRPr>
      </a:lvl9pPr>
    </p:titleStyle>
    <p:bodyStyle>
      <a:lvl1pPr marL="257175" indent="-257175" algn="l" rtl="0" eaLnBrk="0" fontAlgn="base" hangingPunct="0">
        <a:spcBef>
          <a:spcPct val="60000"/>
        </a:spcBef>
        <a:spcAft>
          <a:spcPct val="0"/>
        </a:spcAft>
        <a:defRPr lang="de-DE" sz="20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1pPr>
      <a:lvl2pPr marL="357188" indent="-355600" algn="l" rtl="0" eaLnBrk="0" fontAlgn="base" hangingPunct="0">
        <a:spcBef>
          <a:spcPct val="60000"/>
        </a:spcBef>
        <a:spcAft>
          <a:spcPct val="0"/>
        </a:spcAft>
        <a:buSzPct val="120000"/>
        <a:buBlip>
          <a:blip r:embed="rId18"/>
        </a:buBlip>
        <a:defRPr sz="2000" kern="12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2pPr>
      <a:lvl3pPr marL="714375" indent="-357188" algn="l" rtl="0" eaLnBrk="0" fontAlgn="base" hangingPunct="0">
        <a:spcBef>
          <a:spcPct val="30000"/>
        </a:spcBef>
        <a:spcAft>
          <a:spcPct val="0"/>
        </a:spcAft>
        <a:buBlip>
          <a:blip r:embed="rId18"/>
        </a:buBlip>
        <a:defRPr sz="1800" kern="12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3pPr>
      <a:lvl4pPr marL="1071563" indent="-357188" algn="l" rtl="0" eaLnBrk="0" fontAlgn="base" hangingPunct="0">
        <a:spcBef>
          <a:spcPct val="20000"/>
        </a:spcBef>
        <a:spcAft>
          <a:spcPct val="0"/>
        </a:spcAft>
        <a:buSzPct val="110000"/>
        <a:buFont typeface="Arial" pitchFamily="84" charset="0"/>
        <a:buBlip>
          <a:blip r:embed="rId19"/>
        </a:buBlip>
        <a:defRPr sz="1600" kern="12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4pPr>
      <a:lvl5pPr marL="714375" indent="-284163" algn="l" rtl="0" eaLnBrk="0" fontAlgn="base" hangingPunct="0">
        <a:spcBef>
          <a:spcPct val="10000"/>
        </a:spcBef>
        <a:spcAft>
          <a:spcPct val="0"/>
        </a:spcAft>
        <a:buFont typeface="Arial" pitchFamily="84" charset="0"/>
        <a:defRPr sz="2000" kern="1200">
          <a:solidFill>
            <a:srgbClr val="131313"/>
          </a:solidFill>
          <a:latin typeface="Arial" pitchFamily="34" charset="0"/>
          <a:ea typeface="ＭＳ Ｐゴシック" pitchFamily="84" charset="-128"/>
          <a:cs typeface="ＭＳ Ｐゴシック" pitchFamily="84" charset="-128"/>
        </a:defRPr>
      </a:lvl5pPr>
      <a:lvl6pPr marL="750094" indent="-183356" algn="l" defTabSz="685800" rtl="0" eaLnBrk="1" latinLnBrk="0" hangingPunct="1">
        <a:spcBef>
          <a:spcPct val="20000"/>
        </a:spcBef>
        <a:buFont typeface="Symbol" pitchFamily="18" charset="2"/>
        <a:buChar char="-"/>
        <a:defRPr sz="135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global.gotomeeting.com/join/831938205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Relationship Id="rId4" Type="http://schemas.openxmlformats.org/officeDocument/2006/relationships/hyperlink" Target="https://openpeppol.atlassian.net/wiki/spaces/EDNCC/pages/452460545/Work+groups+teams+and+task+forces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peppol.eu" TargetMode="Externa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36.xml"/><Relationship Id="rId5" Type="http://schemas.openxmlformats.org/officeDocument/2006/relationships/image" Target="../media/image25.jpeg"/><Relationship Id="rId4" Type="http://schemas.openxmlformats.org/officeDocument/2006/relationships/hyperlink" Target="http://www.peppol.eu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Plassholder for innhold 2"/>
          <p:cNvSpPr>
            <a:spLocks noGrp="1"/>
          </p:cNvSpPr>
          <p:nvPr>
            <p:ph type="subTitle" sz="quarter" idx="1"/>
          </p:nvPr>
        </p:nvSpPr>
        <p:spPr>
          <a:xfrm>
            <a:off x="4133088" y="2404711"/>
            <a:ext cx="7690104" cy="2492990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en-US" sz="3600" b="1" kern="1200" dirty="0" err="1">
                <a:solidFill>
                  <a:srgbClr val="333333"/>
                </a:solidFill>
              </a:rPr>
              <a:t>OpenPEPPOL</a:t>
            </a:r>
            <a:r>
              <a:rPr lang="en-US" sz="3600" b="1" kern="1200" dirty="0">
                <a:solidFill>
                  <a:srgbClr val="333333"/>
                </a:solidFill>
              </a:rPr>
              <a:t> eDelivery WG</a:t>
            </a:r>
          </a:p>
          <a:p>
            <a:pPr>
              <a:spcBef>
                <a:spcPct val="0"/>
              </a:spcBef>
            </a:pPr>
            <a:r>
              <a:rPr lang="en-US" sz="3600" b="1" kern="1200" dirty="0">
                <a:solidFill>
                  <a:srgbClr val="333333"/>
                </a:solidFill>
              </a:rPr>
              <a:t>Kick-off</a:t>
            </a:r>
          </a:p>
          <a:p>
            <a:pPr>
              <a:spcBef>
                <a:spcPct val="0"/>
              </a:spcBef>
            </a:pPr>
            <a:r>
              <a:rPr lang="en-US" sz="3600" b="1" kern="1200" dirty="0">
                <a:solidFill>
                  <a:srgbClr val="333333"/>
                </a:solidFill>
              </a:rPr>
              <a:t>05.07.2019</a:t>
            </a:r>
          </a:p>
          <a:p>
            <a:pPr>
              <a:spcBef>
                <a:spcPct val="0"/>
              </a:spcBef>
            </a:pPr>
            <a:endParaRPr lang="nb-NO" sz="1800" kern="1200" dirty="0">
              <a:solidFill>
                <a:srgbClr val="333333"/>
              </a:solidFill>
            </a:endParaRPr>
          </a:p>
          <a:p>
            <a:pPr>
              <a:spcBef>
                <a:spcPct val="0"/>
              </a:spcBef>
            </a:pPr>
            <a:r>
              <a:rPr lang="nb-NO" sz="1800" kern="1200" dirty="0">
                <a:solidFill>
                  <a:srgbClr val="333333"/>
                </a:solidFill>
              </a:rPr>
              <a:t>Klaus Vilstrup Pedersen</a:t>
            </a:r>
          </a:p>
          <a:p>
            <a:pPr>
              <a:spcBef>
                <a:spcPct val="0"/>
              </a:spcBef>
            </a:pPr>
            <a:r>
              <a:rPr lang="nb-NO" sz="1800" kern="1200" dirty="0" err="1">
                <a:solidFill>
                  <a:srgbClr val="333333"/>
                </a:solidFill>
              </a:rPr>
              <a:t>OpenPEPPOL</a:t>
            </a:r>
            <a:r>
              <a:rPr lang="nb-NO" sz="1800" kern="1200" dirty="0">
                <a:solidFill>
                  <a:srgbClr val="333333"/>
                </a:solidFill>
              </a:rPr>
              <a:t> eDelivery </a:t>
            </a:r>
            <a:r>
              <a:rPr lang="nb-NO" sz="1800" kern="1200" dirty="0" err="1">
                <a:solidFill>
                  <a:srgbClr val="333333"/>
                </a:solidFill>
              </a:rPr>
              <a:t>Community</a:t>
            </a:r>
            <a:r>
              <a:rPr lang="nb-NO" sz="1800" kern="1200" dirty="0">
                <a:solidFill>
                  <a:srgbClr val="333333"/>
                </a:solidFill>
              </a:rPr>
              <a:t> leader</a:t>
            </a: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227A6E36-CC72-4D6C-9336-4B681B17EFCF}"/>
              </a:ext>
            </a:extLst>
          </p:cNvPr>
          <p:cNvSpPr/>
          <p:nvPr/>
        </p:nvSpPr>
        <p:spPr>
          <a:xfrm>
            <a:off x="1697419" y="5795235"/>
            <a:ext cx="82348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nb-NO" sz="40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Note: </a:t>
            </a:r>
            <a:r>
              <a:rPr lang="nb-NO" sz="4000" dirty="0" err="1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this</a:t>
            </a:r>
            <a:r>
              <a:rPr lang="nb-NO" sz="40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nb-NO" sz="4000" dirty="0" err="1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session</a:t>
            </a:r>
            <a:r>
              <a:rPr lang="nb-NO" sz="40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nb-NO" sz="4000" dirty="0" err="1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will</a:t>
            </a:r>
            <a:r>
              <a:rPr lang="nb-NO" sz="40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 be </a:t>
            </a:r>
            <a:r>
              <a:rPr lang="nb-NO" sz="4000" dirty="0" err="1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recorded</a:t>
            </a:r>
            <a:endParaRPr lang="nb-NO" sz="4000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61496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798566A-2802-478C-ACC4-DAA24ABDC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Other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B93BF4F-1AEF-4264-AE4D-4B98A04C13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300" y="1080135"/>
            <a:ext cx="10189029" cy="5130641"/>
          </a:xfrm>
        </p:spPr>
        <p:txBody>
          <a:bodyPr>
            <a:normAutofit/>
          </a:bodyPr>
          <a:lstStyle/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Corner 5? i.e. send to more than 1 receiver.</a:t>
            </a:r>
          </a:p>
          <a:p>
            <a:pPr marL="627188" lvl="2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Singapore to start some work to create a pilot</a:t>
            </a:r>
          </a:p>
          <a:p>
            <a:pPr marL="627188" lvl="2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Australia has requirements</a:t>
            </a:r>
          </a:p>
          <a:p>
            <a:pPr marL="627188" lvl="2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Norway in process of creating data-lakes of </a:t>
            </a:r>
            <a:r>
              <a:rPr lang="en-GB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eInvoices</a:t>
            </a:r>
            <a:endParaRPr lang="en-GB" sz="2400" dirty="0">
              <a:solidFill>
                <a:srgbClr val="131313"/>
              </a:solidFill>
              <a:latin typeface="Arial" pitchFamily="34" charset="0"/>
              <a:ea typeface="ＭＳ Ｐゴシック" pitchFamily="84" charset="-128"/>
            </a:endParaRP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Overall architecture, building blocks, interrelationships, principles and other exchange patterns.</a:t>
            </a:r>
            <a:endParaRPr lang="nb-NO" dirty="0">
              <a:solidFill>
                <a:srgbClr val="131313"/>
              </a:solidFill>
              <a:latin typeface="Arial" pitchFamily="34" charset="0"/>
              <a:ea typeface="ＭＳ Ｐゴシック" pitchFamily="8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667186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798566A-2802-478C-ACC4-DAA24ABDC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nformation </a:t>
            </a:r>
            <a:r>
              <a:rPr lang="nb-NO" dirty="0" err="1"/>
              <a:t>items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B93BF4F-1AEF-4264-AE4D-4B98A04C13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300" y="1080135"/>
            <a:ext cx="10189029" cy="5130641"/>
          </a:xfrm>
        </p:spPr>
        <p:txBody>
          <a:bodyPr>
            <a:normAutofit/>
          </a:bodyPr>
          <a:lstStyle/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Next Community F2F meetings scheduled and confirmed to be:</a:t>
            </a:r>
          </a:p>
          <a:p>
            <a:pPr marL="627188" lvl="2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highlight>
                  <a:srgbClr val="FFFF00"/>
                </a:highlight>
                <a:latin typeface="Arial" pitchFamily="34" charset="0"/>
                <a:ea typeface="ＭＳ Ｐゴシック" pitchFamily="84" charset="-128"/>
              </a:rPr>
              <a:t>Time: 15-16 October 2019</a:t>
            </a:r>
          </a:p>
          <a:p>
            <a:pPr marL="627188" lvl="2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highlight>
                  <a:srgbClr val="FFFF00"/>
                </a:highlight>
                <a:latin typeface="Arial" pitchFamily="34" charset="0"/>
                <a:ea typeface="ＭＳ Ｐゴシック" pitchFamily="84" charset="-128"/>
              </a:rPr>
              <a:t>Place: Brussels, Belgium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sz="27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Communications and sharing</a:t>
            </a:r>
          </a:p>
          <a:p>
            <a:pPr marL="627188" lvl="2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Mail: A </a:t>
            </a:r>
            <a:r>
              <a:rPr lang="en-GB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maillist</a:t>
            </a:r>
            <a:r>
              <a:rPr lang="en-GB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will be established </a:t>
            </a:r>
          </a:p>
          <a:p>
            <a:pPr marL="627188" lvl="2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Netmeetings</a:t>
            </a:r>
            <a:r>
              <a:rPr lang="en-GB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: </a:t>
            </a:r>
            <a:r>
              <a:rPr lang="en-GB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GoTo</a:t>
            </a:r>
            <a:r>
              <a:rPr lang="en-GB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meeting: </a:t>
            </a:r>
            <a:r>
              <a:rPr lang="en-GB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  <a:hlinkClick r:id="rId3"/>
              </a:rPr>
              <a:t>https://global.gotomeeting.com/join/831938205</a:t>
            </a:r>
            <a:endParaRPr lang="en-GB" sz="2400" dirty="0">
              <a:solidFill>
                <a:srgbClr val="131313"/>
              </a:solidFill>
              <a:latin typeface="Arial" pitchFamily="34" charset="0"/>
              <a:ea typeface="ＭＳ Ｐゴシック" pitchFamily="84" charset="-128"/>
            </a:endParaRPr>
          </a:p>
          <a:p>
            <a:pPr marL="627188" lvl="2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Confluence: </a:t>
            </a:r>
            <a:r>
              <a:rPr lang="nb-NO" sz="2400" dirty="0">
                <a:hlinkClick r:id="rId4"/>
              </a:rPr>
              <a:t>https://openpeppol.atlassian.net/wiki/spaces/EDNCC/pages/452460545/Work+groups+teams+and+task+forces</a:t>
            </a:r>
            <a:endParaRPr lang="en-GB" sz="2400" dirty="0">
              <a:solidFill>
                <a:srgbClr val="131313"/>
              </a:solidFill>
              <a:latin typeface="Arial" pitchFamily="34" charset="0"/>
              <a:ea typeface="ＭＳ Ｐゴシック" pitchFamily="84" charset="-128"/>
            </a:endParaRP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endParaRPr lang="en-GB" sz="2700" dirty="0">
              <a:solidFill>
                <a:srgbClr val="131313"/>
              </a:solidFill>
              <a:latin typeface="Arial" pitchFamily="34" charset="0"/>
              <a:ea typeface="ＭＳ Ｐゴシック" pitchFamily="8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726065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/>
          </p:cNvSpPr>
          <p:nvPr/>
        </p:nvSpPr>
        <p:spPr bwMode="auto">
          <a:xfrm>
            <a:off x="6045437" y="2533212"/>
            <a:ext cx="5286403" cy="1748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marL="342900" marR="0" lvl="0" indent="-342900" defTabSz="914400" eaLnBrk="0" fontAlgn="auto" latinLnBrk="0" hangingPunct="0">
              <a:lnSpc>
                <a:spcPct val="100000"/>
              </a:lnSpc>
              <a:spcBef>
                <a:spcPct val="6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itchFamily="84" charset="0"/>
                <a:ea typeface="ＭＳ Ｐゴシック" pitchFamily="84" charset="-128"/>
              </a:rPr>
              <a:t>More information</a:t>
            </a:r>
          </a:p>
          <a:p>
            <a:pPr marL="342900" marR="0" lvl="0" indent="-342900" defTabSz="914400" eaLnBrk="0" fontAlgn="auto" latinLnBrk="0" hangingPunct="0">
              <a:lnSpc>
                <a:spcPct val="100000"/>
              </a:lnSpc>
              <a:spcBef>
                <a:spcPct val="6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itchFamily="84" charset="0"/>
                <a:ea typeface="ＭＳ Ｐゴシック" pitchFamily="84" charset="-128"/>
              </a:rPr>
              <a:t>E-mail: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itchFamily="84" charset="0"/>
                <a:ea typeface="ＭＳ Ｐゴシック" pitchFamily="84" charset="-128"/>
                <a:hlinkClick r:id="rId3"/>
              </a:rPr>
              <a:t>info@peppol.eu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itchFamily="84" charset="0"/>
                <a:ea typeface="ＭＳ Ｐゴシック" pitchFamily="84" charset="-128"/>
              </a:rPr>
              <a:t> </a:t>
            </a:r>
          </a:p>
          <a:p>
            <a:pPr marL="342900" marR="0" lvl="0" indent="-342900" defTabSz="914400" eaLnBrk="0" fontAlgn="auto" latinLnBrk="0" hangingPunct="0">
              <a:lnSpc>
                <a:spcPct val="100000"/>
              </a:lnSpc>
              <a:spcBef>
                <a:spcPct val="6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itchFamily="84" charset="0"/>
                <a:ea typeface="ＭＳ Ｐゴシック" pitchFamily="84" charset="-128"/>
              </a:rPr>
              <a:t>Web address: </a:t>
            </a:r>
            <a:r>
              <a: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373737"/>
                </a:solidFill>
                <a:effectLst/>
                <a:uLnTx/>
                <a:uFillTx/>
                <a:latin typeface="Arial" pitchFamily="84" charset="0"/>
                <a:ea typeface="ＭＳ Ｐゴシック" pitchFamily="84" charset="-128"/>
                <a:hlinkClick r:id="rId4"/>
              </a:rPr>
              <a:t>www.peppol.eu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373737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</a:endParaRPr>
          </a:p>
        </p:txBody>
      </p:sp>
      <p:pic>
        <p:nvPicPr>
          <p:cNvPr id="7" name="Content Placeholder 6" descr="sackerl_powerpoint_RGB"/>
          <p:cNvPicPr>
            <a:picLocks noGrp="1" noChangeAspect="1" noChangeArrowheads="1"/>
          </p:cNvPicPr>
          <p:nvPr>
            <p:ph idx="4294967295"/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7514" y="1680239"/>
            <a:ext cx="4360286" cy="4094293"/>
          </a:xfrm>
        </p:spPr>
      </p:pic>
    </p:spTree>
    <p:extLst>
      <p:ext uri="{BB962C8B-B14F-4D97-AF65-F5344CB8AC3E}">
        <p14:creationId xmlns:p14="http://schemas.microsoft.com/office/powerpoint/2010/main" val="1263765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9617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err="1">
                <a:solidFill>
                  <a:srgbClr val="373737"/>
                </a:solidFill>
                <a:latin typeface="Arial" pitchFamily="84" charset="0"/>
              </a:rPr>
              <a:t>Peppol</a:t>
            </a:r>
            <a:r>
              <a:rPr lang="en-GB" dirty="0">
                <a:solidFill>
                  <a:srgbClr val="373737"/>
                </a:solidFill>
                <a:latin typeface="Arial" pitchFamily="84" charset="0"/>
              </a:rPr>
              <a:t> eDelivery</a:t>
            </a:r>
            <a:endParaRPr lang="en-GB" sz="2000" dirty="0">
              <a:solidFill>
                <a:srgbClr val="373737"/>
              </a:solidFill>
              <a:latin typeface="Arial" pitchFamily="84" charset="0"/>
            </a:endParaRPr>
          </a:p>
        </p:txBody>
      </p:sp>
      <p:pic>
        <p:nvPicPr>
          <p:cNvPr id="2799619" name="Picture 1029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971628" y="1443953"/>
            <a:ext cx="2709574" cy="2200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Bilde 5">
            <a:extLst>
              <a:ext uri="{FF2B5EF4-FFF2-40B4-BE49-F238E27FC236}">
                <a16:creationId xmlns:a16="http://schemas.microsoft.com/office/drawing/2014/main" id="{639D422D-D6BC-4108-BF8A-0A838CC1745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9270" t="52640" r="32453" b="24280"/>
          <a:stretch/>
        </p:blipFill>
        <p:spPr>
          <a:xfrm>
            <a:off x="2982454" y="4488527"/>
            <a:ext cx="8698748" cy="1851040"/>
          </a:xfrm>
          <a:prstGeom prst="rect">
            <a:avLst/>
          </a:prstGeom>
        </p:spPr>
      </p:pic>
      <p:sp>
        <p:nvSpPr>
          <p:cNvPr id="2" name="Rektangel 1">
            <a:extLst>
              <a:ext uri="{FF2B5EF4-FFF2-40B4-BE49-F238E27FC236}">
                <a16:creationId xmlns:a16="http://schemas.microsoft.com/office/drawing/2014/main" id="{E8014857-EB4D-4015-BD14-811509349888}"/>
              </a:ext>
            </a:extLst>
          </p:cNvPr>
          <p:cNvSpPr/>
          <p:nvPr/>
        </p:nvSpPr>
        <p:spPr>
          <a:xfrm>
            <a:off x="609599" y="1443953"/>
            <a:ext cx="6658303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GB" sz="2000" dirty="0">
                <a:latin typeface="Calibri" panose="020F0502020204030204" pitchFamily="34" charset="0"/>
                <a:ea typeface="Calibri" panose="020F0502020204030204" pitchFamily="34" charset="0"/>
              </a:rPr>
              <a:t>Agenda:</a:t>
            </a:r>
            <a:endParaRPr lang="nb-NO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en-GB" sz="2000" dirty="0">
                <a:latin typeface="Calibri" panose="020F0502020204030204" pitchFamily="34" charset="0"/>
                <a:ea typeface="Times New Roman" panose="02020603050405020304" pitchFamily="18" charset="0"/>
              </a:rPr>
              <a:t>Welcome</a:t>
            </a:r>
            <a:endParaRPr lang="nb-NO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en-GB" sz="2000" dirty="0">
                <a:latin typeface="Calibri" panose="020F0502020204030204" pitchFamily="34" charset="0"/>
                <a:ea typeface="Times New Roman" panose="02020603050405020304" pitchFamily="18" charset="0"/>
              </a:rPr>
              <a:t>meetings, etc.)</a:t>
            </a:r>
            <a:endParaRPr lang="nb-NO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en-GB" sz="2000" dirty="0">
                <a:latin typeface="Calibri" panose="020F0502020204030204" pitchFamily="34" charset="0"/>
                <a:ea typeface="Times New Roman" panose="02020603050405020304" pitchFamily="18" charset="0"/>
              </a:rPr>
              <a:t>Issues and Plans for each WG (AS4, Enhanced Security, SML/SMP)</a:t>
            </a:r>
            <a:endParaRPr lang="nb-NO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en-GB" sz="2000" dirty="0">
                <a:latin typeface="Calibri" panose="020F0502020204030204" pitchFamily="34" charset="0"/>
                <a:ea typeface="Times New Roman" panose="02020603050405020304" pitchFamily="18" charset="0"/>
              </a:rPr>
              <a:t>Administrative issues (organization, collaboration area, Next steps</a:t>
            </a:r>
            <a:endParaRPr lang="nb-NO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lvl="0" indent="-342900">
              <a:spcAft>
                <a:spcPts val="0"/>
              </a:spcAft>
              <a:buFont typeface="+mj-lt"/>
              <a:buAutoNum type="arabicPeriod"/>
            </a:pPr>
            <a:r>
              <a:rPr lang="en-GB" sz="2000" strike="sngStrike" dirty="0">
                <a:latin typeface="Calibri" panose="020F0502020204030204" pitchFamily="34" charset="0"/>
                <a:ea typeface="Times New Roman" panose="02020603050405020304" pitchFamily="18" charset="0"/>
              </a:rPr>
              <a:t>SML plans (the SML WG has some issues that has to be resolved during July- August)</a:t>
            </a:r>
            <a:endParaRPr lang="nb-NO" sz="2000" strike="sngStrike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84915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798566A-2802-478C-ACC4-DAA24ABDC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S4 W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B93BF4F-1AEF-4264-AE4D-4B98A04C13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301" y="1080135"/>
            <a:ext cx="10069760" cy="5130641"/>
          </a:xfrm>
        </p:spPr>
        <p:txBody>
          <a:bodyPr>
            <a:normAutofit/>
          </a:bodyPr>
          <a:lstStyle/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OpenPEPPOL</a:t>
            </a: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is making the transfer of PEPPOL eDelivery from AS2 to AS4 in the period of 1.8.2019 to 1.2.2020 and it is foreseen that added support and issue handling will be needed. </a:t>
            </a:r>
            <a:endParaRPr lang="nb-NO" dirty="0">
              <a:solidFill>
                <a:srgbClr val="131313"/>
              </a:solidFill>
              <a:latin typeface="Arial" pitchFamily="34" charset="0"/>
              <a:ea typeface="ＭＳ Ｐゴシック" pitchFamily="84" charset="-128"/>
            </a:endParaRP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Also a long term “product” strategy for AS4 needs to be established.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To use SBDH or not to use SBDH? (Rick)</a:t>
            </a:r>
          </a:p>
        </p:txBody>
      </p:sp>
    </p:spTree>
    <p:extLst>
      <p:ext uri="{BB962C8B-B14F-4D97-AF65-F5344CB8AC3E}">
        <p14:creationId xmlns:p14="http://schemas.microsoft.com/office/powerpoint/2010/main" val="16727802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798566A-2802-478C-ACC4-DAA24ABDC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S4 WG pla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B93BF4F-1AEF-4264-AE4D-4B98A04C13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300" y="1080135"/>
            <a:ext cx="10189029" cy="5130641"/>
          </a:xfrm>
        </p:spPr>
        <p:txBody>
          <a:bodyPr>
            <a:normAutofit/>
          </a:bodyPr>
          <a:lstStyle/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WG leader?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Finalization of AS4 transition 1.2.2020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 err="1">
                <a:solidFill>
                  <a:srgbClr val="131313"/>
                </a:solidFill>
                <a:highlight>
                  <a:srgbClr val="FFFF00"/>
                </a:highlight>
                <a:latin typeface="Arial" pitchFamily="34" charset="0"/>
                <a:ea typeface="ＭＳ Ｐゴシック" pitchFamily="84" charset="-128"/>
              </a:rPr>
              <a:t>OpenPEPPOL</a:t>
            </a:r>
            <a:r>
              <a:rPr lang="en-GB" dirty="0">
                <a:solidFill>
                  <a:srgbClr val="131313"/>
                </a:solidFill>
                <a:highlight>
                  <a:srgbClr val="FFFF00"/>
                </a:highlight>
                <a:latin typeface="Arial" pitchFamily="34" charset="0"/>
                <a:ea typeface="ＭＳ Ｐゴシック" pitchFamily="84" charset="-128"/>
              </a:rPr>
              <a:t> AS4 spec issue handling by mail until: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highlight>
                  <a:srgbClr val="FFFF00"/>
                </a:highlight>
                <a:latin typeface="Arial" pitchFamily="34" charset="0"/>
                <a:ea typeface="ＭＳ Ｐゴシック" pitchFamily="84" charset="-128"/>
              </a:rPr>
              <a:t>First meeting in week 34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endParaRPr lang="nb-NO" dirty="0">
              <a:solidFill>
                <a:srgbClr val="131313"/>
              </a:solidFill>
              <a:latin typeface="Arial" pitchFamily="34" charset="0"/>
              <a:ea typeface="ＭＳ Ｐゴシック" pitchFamily="8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000045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798566A-2802-478C-ACC4-DAA24ABDC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Enhanced</a:t>
            </a:r>
            <a:r>
              <a:rPr lang="nb-NO" dirty="0"/>
              <a:t> Security W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B93BF4F-1AEF-4264-AE4D-4B98A04C13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300" y="1080135"/>
            <a:ext cx="10189029" cy="5130641"/>
          </a:xfrm>
        </p:spPr>
        <p:txBody>
          <a:bodyPr>
            <a:normAutofit/>
          </a:bodyPr>
          <a:lstStyle/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AU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Several PA’s and organizations has informally asked for enhanced security for secrecy, integrity, authenticity and non-repudiation (traceability).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AU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Architectural work needs to be established for development and integration into the eDelivery architecture.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AU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Corner 1 to Corner 4 security on secrecy, integrity, authenticity and non-repudiation (traceability)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endParaRPr lang="en-AU" dirty="0">
              <a:solidFill>
                <a:srgbClr val="131313"/>
              </a:solidFill>
              <a:latin typeface="Arial" pitchFamily="34" charset="0"/>
              <a:ea typeface="ＭＳ Ｐゴシック" pitchFamily="84" charset="-128"/>
            </a:endParaRP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AU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Norway has implemented C1 to C4 security for ISO 20022 payment and eGovernment solutions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AU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Australia and New Zealand requesting this for (certain kind of) </a:t>
            </a:r>
            <a:r>
              <a:rPr lang="en-AU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eInvoices</a:t>
            </a:r>
            <a:r>
              <a:rPr lang="en-AU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.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endParaRPr lang="en-AU" dirty="0">
              <a:solidFill>
                <a:srgbClr val="131313"/>
              </a:solidFill>
              <a:latin typeface="Arial" pitchFamily="34" charset="0"/>
              <a:ea typeface="ＭＳ Ｐゴシック" pitchFamily="8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1763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798566A-2802-478C-ACC4-DAA24ABDC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Enhanced</a:t>
            </a:r>
            <a:r>
              <a:rPr lang="nb-NO" dirty="0"/>
              <a:t> Security WG pla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B93BF4F-1AEF-4264-AE4D-4B98A04C13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300" y="1080135"/>
            <a:ext cx="10189029" cy="5130641"/>
          </a:xfrm>
        </p:spPr>
        <p:txBody>
          <a:bodyPr>
            <a:normAutofit/>
          </a:bodyPr>
          <a:lstStyle/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WG leader?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No requested deadlines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A plan has to be established with deadline accommodating stakeholders</a:t>
            </a:r>
          </a:p>
          <a:p>
            <a:pPr marL="627188" lvl="2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Identify requirements</a:t>
            </a:r>
          </a:p>
          <a:p>
            <a:pPr marL="627188" lvl="2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Identify needs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Use </a:t>
            </a:r>
            <a:r>
              <a:rPr lang="en-GB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juli</a:t>
            </a: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/august for collecting input to the WG (all)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highlight>
                  <a:srgbClr val="FFFF00"/>
                </a:highlight>
                <a:latin typeface="Arial" pitchFamily="34" charset="0"/>
                <a:ea typeface="ＭＳ Ｐゴシック" pitchFamily="84" charset="-128"/>
              </a:rPr>
              <a:t>First meeting in week 34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endParaRPr lang="nb-NO" dirty="0">
              <a:solidFill>
                <a:srgbClr val="131313"/>
              </a:solidFill>
              <a:latin typeface="Arial" pitchFamily="34" charset="0"/>
              <a:ea typeface="ＭＳ Ｐゴシック" pitchFamily="8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8516416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798566A-2802-478C-ACC4-DAA24ABDC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ML/SMP W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B93BF4F-1AEF-4264-AE4D-4B98A04C13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300" y="1080135"/>
            <a:ext cx="10238725" cy="5130641"/>
          </a:xfrm>
        </p:spPr>
        <p:txBody>
          <a:bodyPr>
            <a:normAutofit lnSpcReduction="10000"/>
          </a:bodyPr>
          <a:lstStyle/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nb-NO" sz="32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</a:t>
            </a:r>
            <a:r>
              <a:rPr lang="nb-NO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Transfer og EC CEF </a:t>
            </a:r>
            <a:r>
              <a:rPr lang="nb-NO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ownership</a:t>
            </a:r>
            <a:r>
              <a:rPr lang="nb-NO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to </a:t>
            </a:r>
            <a:r>
              <a:rPr lang="nb-NO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OpenPEPPOL</a:t>
            </a:r>
            <a:r>
              <a:rPr lang="nb-NO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</a:t>
            </a:r>
            <a:r>
              <a:rPr lang="nb-NO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ownership</a:t>
            </a:r>
            <a:endParaRPr lang="nb-NO" dirty="0">
              <a:solidFill>
                <a:srgbClr val="131313"/>
              </a:solidFill>
              <a:latin typeface="Arial" pitchFamily="34" charset="0"/>
              <a:ea typeface="ＭＳ Ｐゴシック" pitchFamily="84" charset="-128"/>
            </a:endParaRPr>
          </a:p>
          <a:p>
            <a:pPr marL="627188" lvl="2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</a:t>
            </a:r>
            <a:r>
              <a:rPr lang="nb-NO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Requirement</a:t>
            </a: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</a:t>
            </a:r>
            <a:r>
              <a:rPr lang="nb-NO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gathering</a:t>
            </a:r>
            <a:endParaRPr lang="nb-NO" sz="2400" dirty="0">
              <a:solidFill>
                <a:srgbClr val="131313"/>
              </a:solidFill>
              <a:latin typeface="Arial" pitchFamily="34" charset="0"/>
              <a:ea typeface="ＭＳ Ｐゴシック" pitchFamily="84" charset="-128"/>
            </a:endParaRPr>
          </a:p>
          <a:p>
            <a:pPr marL="897188" lvl="3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nb-NO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Mulitiple</a:t>
            </a: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</a:t>
            </a:r>
            <a:r>
              <a:rPr lang="nb-NO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SMLs</a:t>
            </a: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?</a:t>
            </a:r>
          </a:p>
          <a:p>
            <a:pPr marL="897188" lvl="3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nb-NO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Move</a:t>
            </a: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from PEPPOL SMP </a:t>
            </a:r>
            <a:r>
              <a:rPr lang="nb-NO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spec</a:t>
            </a: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to OASIS BDXL </a:t>
            </a:r>
            <a:r>
              <a:rPr lang="nb-NO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spec</a:t>
            </a: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?</a:t>
            </a:r>
          </a:p>
          <a:p>
            <a:pPr marL="627188" lvl="2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</a:t>
            </a:r>
            <a:r>
              <a:rPr lang="nb-NO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Develop</a:t>
            </a: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and </a:t>
            </a:r>
            <a:r>
              <a:rPr lang="nb-NO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maintain</a:t>
            </a: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SML</a:t>
            </a:r>
          </a:p>
          <a:p>
            <a:pPr marL="897188" lvl="3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nb-NO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Governace</a:t>
            </a: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</a:t>
            </a:r>
            <a:r>
              <a:rPr lang="nb-NO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structure</a:t>
            </a: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?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nb-NO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SMP</a:t>
            </a:r>
          </a:p>
          <a:p>
            <a:pPr marL="627188" lvl="2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Evaluation </a:t>
            </a:r>
            <a:r>
              <a:rPr lang="nb-NO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of</a:t>
            </a: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OASIS SMP 2.0?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nb-NO" sz="27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PEPPOL Directory</a:t>
            </a:r>
          </a:p>
          <a:p>
            <a:pPr marL="627188" lvl="2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nb-NO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Include</a:t>
            </a: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in </a:t>
            </a:r>
            <a:r>
              <a:rPr lang="nb-NO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the</a:t>
            </a: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 WG? </a:t>
            </a:r>
            <a:r>
              <a:rPr lang="nb-NO" sz="2400" dirty="0" err="1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Now</a:t>
            </a:r>
            <a:r>
              <a:rPr lang="nb-NO" sz="2400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? (Rick)</a:t>
            </a:r>
          </a:p>
        </p:txBody>
      </p:sp>
    </p:spTree>
    <p:extLst>
      <p:ext uri="{BB962C8B-B14F-4D97-AF65-F5344CB8AC3E}">
        <p14:creationId xmlns:p14="http://schemas.microsoft.com/office/powerpoint/2010/main" val="40262016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798566A-2802-478C-ACC4-DAA24ABDC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ML/SMP WG pla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B93BF4F-1AEF-4264-AE4D-4B98A04C13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300" y="1080135"/>
            <a:ext cx="10189029" cy="5130641"/>
          </a:xfrm>
        </p:spPr>
        <p:txBody>
          <a:bodyPr>
            <a:normAutofit/>
          </a:bodyPr>
          <a:lstStyle/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WG leader: Klaus Vilstrup Pedersen (for now!)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strike="sngStrike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Plan see later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Collect and consolidate requirements 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highlight>
                  <a:srgbClr val="FFFF00"/>
                </a:highlight>
                <a:latin typeface="Arial" pitchFamily="34" charset="0"/>
                <a:ea typeface="ＭＳ Ｐゴシック" pitchFamily="84" charset="-128"/>
              </a:rPr>
              <a:t>First meetings in week 34 (SML requirement gathering)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highlight>
                  <a:srgbClr val="FFFF00"/>
                </a:highlight>
              </a:rPr>
              <a:t>Workshop (net) with EC CEF, when is it feasible</a:t>
            </a:r>
            <a:r>
              <a:rPr lang="en-GB">
                <a:highlight>
                  <a:srgbClr val="FFFF00"/>
                </a:highlight>
              </a:rPr>
              <a:t>? </a:t>
            </a:r>
            <a:endParaRPr lang="en-GB" dirty="0">
              <a:solidFill>
                <a:srgbClr val="131313"/>
              </a:solidFill>
              <a:latin typeface="Arial" pitchFamily="34" charset="0"/>
              <a:ea typeface="ＭＳ Ｐゴシック" pitchFamily="8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281603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798566A-2802-478C-ACC4-DAA24ABDC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Cross WG </a:t>
            </a:r>
            <a:r>
              <a:rPr lang="nb-NO" dirty="0" err="1"/>
              <a:t>issues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B93BF4F-1AEF-4264-AE4D-4B98A04C13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50300" y="1080135"/>
            <a:ext cx="10189029" cy="5130641"/>
          </a:xfrm>
        </p:spPr>
        <p:txBody>
          <a:bodyPr>
            <a:normAutofit/>
          </a:bodyPr>
          <a:lstStyle/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There is issues where many WGs needs to be involved (Rick)</a:t>
            </a:r>
          </a:p>
          <a:p>
            <a:pPr marL="627188" lvl="2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Using SMP as host of public certificates</a:t>
            </a:r>
          </a:p>
          <a:p>
            <a:pPr marL="627188" lvl="2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ASIC, SBDH, AS4, Security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endParaRPr lang="en-GB" dirty="0">
              <a:solidFill>
                <a:srgbClr val="131313"/>
              </a:solidFill>
              <a:latin typeface="Arial" pitchFamily="34" charset="0"/>
              <a:ea typeface="ＭＳ Ｐゴシック" pitchFamily="84" charset="-128"/>
            </a:endParaRP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Many participants in many WGs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Philip and Klaus will monitor where multiple WG coordination is needed</a:t>
            </a:r>
          </a:p>
          <a:p>
            <a:pPr marL="357188" lvl="1" indent="-35560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n-GB" dirty="0">
                <a:solidFill>
                  <a:srgbClr val="131313"/>
                </a:solidFill>
                <a:latin typeface="Arial" pitchFamily="34" charset="0"/>
                <a:ea typeface="ＭＳ Ｐゴシック" pitchFamily="84" charset="-128"/>
              </a:rPr>
              <a:t>Transparent – all has access to all WGs</a:t>
            </a:r>
          </a:p>
          <a:p>
            <a:pPr marL="1588" lvl="1" indent="0" eaLnBrk="0" fontAlgn="base" hangingPunct="0">
              <a:spcBef>
                <a:spcPct val="60000"/>
              </a:spcBef>
              <a:spcAft>
                <a:spcPct val="0"/>
              </a:spcAft>
              <a:buSzPct val="120000"/>
              <a:buNone/>
            </a:pPr>
            <a:endParaRPr lang="en-GB" dirty="0">
              <a:solidFill>
                <a:srgbClr val="131313"/>
              </a:solidFill>
              <a:latin typeface="Arial" pitchFamily="34" charset="0"/>
              <a:ea typeface="ＭＳ Ｐゴシック" pitchFamily="8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219960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4KWd7CEqqF15zHEpEb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5.D8jqX0KTrCHgOzqT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4KWd7CEqqF15zHEpEb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RGoXhxUaH7gn26lLy4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ALrlVRLE.z5xdUue20e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RGoXhxUaH7gn26lLy4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RGoXhxUaH7gn26lLy4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RGoXhxUaH7gn26lLy4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ALrlVRLE.z5xdUue20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CZCNREM0Wq2yJbEEg3I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DY6boVXka96IvH2coX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.7eiMMME.YsBcxMDi0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HTgXlI7kmYzSOCzCPE2w"/>
</p:tagLst>
</file>

<file path=ppt/theme/theme1.xml><?xml version="1.0" encoding="utf-8"?>
<a:theme xmlns:a="http://schemas.openxmlformats.org/drawingml/2006/main" name="DIFI PPTmal">
  <a:themeElements>
    <a:clrScheme name="DIFI">
      <a:dk1>
        <a:sysClr val="windowText" lastClr="000000"/>
      </a:dk1>
      <a:lt1>
        <a:sysClr val="window" lastClr="FFFFFF"/>
      </a:lt1>
      <a:dk2>
        <a:srgbClr val="23344F"/>
      </a:dk2>
      <a:lt2>
        <a:srgbClr val="E7E6E6"/>
      </a:lt2>
      <a:accent1>
        <a:srgbClr val="000066"/>
      </a:accent1>
      <a:accent2>
        <a:srgbClr val="00CCFF"/>
      </a:accent2>
      <a:accent3>
        <a:srgbClr val="F0E6D8"/>
      </a:accent3>
      <a:accent4>
        <a:srgbClr val="9B6396"/>
      </a:accent4>
      <a:accent5>
        <a:srgbClr val="336699"/>
      </a:accent5>
      <a:accent6>
        <a:srgbClr val="743068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4" id="{F9E7AFF1-70BC-4C7B-B0D0-37C1EF5DD814}" vid="{5C015907-127E-40CA-8532-4C9E659AC0F3}"/>
    </a:ext>
  </a:extLst>
</a:theme>
</file>

<file path=ppt/theme/theme2.xml><?xml version="1.0" encoding="utf-8"?>
<a:theme xmlns:a="http://schemas.openxmlformats.org/drawingml/2006/main" name="20101202 HODDEVIK presentation">
  <a:themeElements>
    <a:clrScheme name="PEPPOL">
      <a:dk1>
        <a:srgbClr val="707173"/>
      </a:dk1>
      <a:lt1>
        <a:srgbClr val="FFFFFF"/>
      </a:lt1>
      <a:dk2>
        <a:srgbClr val="707173"/>
      </a:dk2>
      <a:lt2>
        <a:srgbClr val="DDDDDD"/>
      </a:lt2>
      <a:accent1>
        <a:srgbClr val="004494"/>
      </a:accent1>
      <a:accent2>
        <a:srgbClr val="D3D4E9"/>
      </a:accent2>
      <a:accent3>
        <a:srgbClr val="A5ABD2"/>
      </a:accent3>
      <a:accent4>
        <a:srgbClr val="7683BB"/>
      </a:accent4>
      <a:accent5>
        <a:srgbClr val="4460A5"/>
      </a:accent5>
      <a:accent6>
        <a:srgbClr val="FFED00"/>
      </a:accent6>
      <a:hlink>
        <a:srgbClr val="7683BB"/>
      </a:hlink>
      <a:folHlink>
        <a:srgbClr val="004494"/>
      </a:folHlink>
    </a:clrScheme>
    <a:fontScheme name="PEPPO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6</TotalTime>
  <Words>680</Words>
  <Application>Microsoft Office PowerPoint</Application>
  <PresentationFormat>Widescreen</PresentationFormat>
  <Paragraphs>85</Paragraphs>
  <Slides>12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2</vt:i4>
      </vt:variant>
    </vt:vector>
  </HeadingPairs>
  <TitlesOfParts>
    <vt:vector size="18" baseType="lpstr">
      <vt:lpstr>Arial</vt:lpstr>
      <vt:lpstr>Calibri</vt:lpstr>
      <vt:lpstr>Symbol</vt:lpstr>
      <vt:lpstr>DIFI PPTmal</vt:lpstr>
      <vt:lpstr>20101202 HODDEVIK presentation</vt:lpstr>
      <vt:lpstr>think-cell Slide</vt:lpstr>
      <vt:lpstr>PowerPoint-presentasjon</vt:lpstr>
      <vt:lpstr>Peppol eDelivery</vt:lpstr>
      <vt:lpstr>AS4 WG</vt:lpstr>
      <vt:lpstr>AS4 WG plan</vt:lpstr>
      <vt:lpstr>Enhanced Security WG</vt:lpstr>
      <vt:lpstr>Enhanced Security WG plan</vt:lpstr>
      <vt:lpstr>SML/SMP WG</vt:lpstr>
      <vt:lpstr>SML/SMP WG plan</vt:lpstr>
      <vt:lpstr>Cross WG issues</vt:lpstr>
      <vt:lpstr>Other</vt:lpstr>
      <vt:lpstr>Information items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to the Norwegian electronic public procurement work</dc:title>
  <dc:creator>Hoddevik, André</dc:creator>
  <cp:lastModifiedBy>Pedersen, Klaus Vilstrup</cp:lastModifiedBy>
  <cp:revision>20</cp:revision>
  <dcterms:created xsi:type="dcterms:W3CDTF">2018-04-11T23:20:23Z</dcterms:created>
  <dcterms:modified xsi:type="dcterms:W3CDTF">2019-07-08T08:58:45Z</dcterms:modified>
</cp:coreProperties>
</file>